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79" r:id="rId4"/>
  </p:sldMasterIdLst>
  <p:notesMasterIdLst>
    <p:notesMasterId r:id="rId38"/>
  </p:notesMasterIdLst>
  <p:handoutMasterIdLst>
    <p:handoutMasterId r:id="rId39"/>
  </p:handoutMasterIdLst>
  <p:sldIdLst>
    <p:sldId id="2147477909" r:id="rId5"/>
    <p:sldId id="2147483448" r:id="rId6"/>
    <p:sldId id="2147477266" r:id="rId7"/>
    <p:sldId id="2147482672" r:id="rId8"/>
    <p:sldId id="257" r:id="rId9"/>
    <p:sldId id="2147470550" r:id="rId10"/>
    <p:sldId id="2147482673" r:id="rId11"/>
    <p:sldId id="321" r:id="rId12"/>
    <p:sldId id="277" r:id="rId13"/>
    <p:sldId id="2147483429" r:id="rId14"/>
    <p:sldId id="266" r:id="rId15"/>
    <p:sldId id="2147469983" r:id="rId16"/>
    <p:sldId id="2147483490" r:id="rId17"/>
    <p:sldId id="260" r:id="rId18"/>
    <p:sldId id="2147483642" r:id="rId19"/>
    <p:sldId id="261" r:id="rId20"/>
    <p:sldId id="2147483643" r:id="rId21"/>
    <p:sldId id="2147483492" r:id="rId22"/>
    <p:sldId id="2147483644" r:id="rId23"/>
    <p:sldId id="2147483489" r:id="rId24"/>
    <p:sldId id="2147483491" r:id="rId25"/>
    <p:sldId id="2147481795" r:id="rId26"/>
    <p:sldId id="2147483450" r:id="rId27"/>
    <p:sldId id="2147483451" r:id="rId28"/>
    <p:sldId id="2147483458" r:id="rId29"/>
    <p:sldId id="2147483452" r:id="rId30"/>
    <p:sldId id="2147483453" r:id="rId31"/>
    <p:sldId id="2147483454" r:id="rId32"/>
    <p:sldId id="2147483455" r:id="rId33"/>
    <p:sldId id="2147483456" r:id="rId34"/>
    <p:sldId id="2147483457" r:id="rId35"/>
    <p:sldId id="2147483459" r:id="rId36"/>
    <p:sldId id="2147483460"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urview" id="{7593C3AB-83D1-4EA4-8289-D2C7D92A583A}">
          <p14:sldIdLst>
            <p14:sldId id="2147477909"/>
            <p14:sldId id="2147483448"/>
            <p14:sldId id="2147477266"/>
            <p14:sldId id="2147482672"/>
            <p14:sldId id="257"/>
            <p14:sldId id="2147470550"/>
            <p14:sldId id="2147482673"/>
            <p14:sldId id="321"/>
            <p14:sldId id="277"/>
            <p14:sldId id="2147483429"/>
            <p14:sldId id="266"/>
            <p14:sldId id="2147469983"/>
            <p14:sldId id="2147483490"/>
            <p14:sldId id="260"/>
            <p14:sldId id="2147483642"/>
            <p14:sldId id="261"/>
            <p14:sldId id="2147483643"/>
            <p14:sldId id="2147483492"/>
            <p14:sldId id="2147483644"/>
            <p14:sldId id="2147483489"/>
            <p14:sldId id="2147483491"/>
            <p14:sldId id="2147481795"/>
            <p14:sldId id="2147483450"/>
            <p14:sldId id="2147483451"/>
            <p14:sldId id="2147483458"/>
            <p14:sldId id="2147483452"/>
            <p14:sldId id="2147483453"/>
            <p14:sldId id="2147483454"/>
            <p14:sldId id="2147483455"/>
            <p14:sldId id="2147483456"/>
            <p14:sldId id="2147483457"/>
            <p14:sldId id="2147483459"/>
            <p14:sldId id="214748346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B41745-652E-2147-2A4A-50176497E60F}" name="Keyuna Evans (CELA)" initials="K(" userId="S::keevans@microsoft.com::653310ed-6ca1-49d8-8b9c-3ff545fb456e" providerId="AD"/>
  <p188:author id="{4EF46D45-980D-9BDC-170B-86C0E967B25D}" name="Jermey Evans (CW)" initials="JE" userId="S::c-jermey.evans@unifyconsulting.com::cd66065b-8769-42d9-96d5-f84ec8f9f654" providerId="AD"/>
  <p188:author id="{B3D9D7A0-C492-EB33-E6B4-2EBF96925583}" name="Adi Regev" initials="AR" userId="S::adiregev@microsoft.com::13f43db5-1dcf-4dcb-b869-e14646c2a1b4" providerId="AD"/>
  <p188:author id="{7A6080A2-1382-B2F3-6F26-61C055460B22}" name="Cillian Mitchell" initials="CM" userId="S::cimitchell@microsoft.com::52ba4ba3-eafd-460a-98fa-bbd73a3d9c67" providerId="AD"/>
  <p188:author id="{43959FE5-22A0-F8C5-57E3-3E90ACBC26CE}" name="Ellie Lawler" initials="EL" userId="S::ellawler@microsoft.com::05e0f727-5dad-414b-96e1-113a11acf1b4" providerId="AD"/>
  <p188:author id="{251498F4-C808-92C1-FF8C-13AD461FA6B2}" name="Tonio Lora" initials="TL" userId="S::anlo@microsoft.com::03824593-714e-4d0e-bb47-efb9476dae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BDAA"/>
    <a:srgbClr val="FFFDF9"/>
    <a:srgbClr val="0078D4"/>
    <a:srgbClr val="FFF8F3"/>
    <a:srgbClr val="C03BC4"/>
    <a:srgbClr val="CDC7BB"/>
    <a:srgbClr val="49C5B1"/>
    <a:srgbClr val="A84C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C6EB42-10CF-F446-AEC4-0649FEB125A3}" v="28" dt="2026-01-13T09:10:25.9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18"/>
    <p:restoredTop sz="95342" autoAdjust="0"/>
  </p:normalViewPr>
  <p:slideViewPr>
    <p:cSldViewPr snapToGrid="0">
      <p:cViewPr varScale="1">
        <p:scale>
          <a:sx n="121" d="100"/>
          <a:sy n="121" d="100"/>
        </p:scale>
        <p:origin x="848" y="464"/>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 Cordtz" userId="b5e592fb-fc8b-4323-a97d-691438b2e2da" providerId="ADAL" clId="{4E22EDF5-2883-5D57-B9C7-04E66950367B}"/>
    <pc:docChg chg="custSel addSld delSld modSld modSection">
      <pc:chgData name="Jan Cordtz" userId="b5e592fb-fc8b-4323-a97d-691438b2e2da" providerId="ADAL" clId="{4E22EDF5-2883-5D57-B9C7-04E66950367B}" dt="2026-01-13T09:10:25.997" v="1400"/>
      <pc:docMkLst>
        <pc:docMk/>
      </pc:docMkLst>
      <pc:sldChg chg="mod modClrScheme chgLayout">
        <pc:chgData name="Jan Cordtz" userId="b5e592fb-fc8b-4323-a97d-691438b2e2da" providerId="ADAL" clId="{4E22EDF5-2883-5D57-B9C7-04E66950367B}" dt="2026-01-13T07:31:02.562" v="42" actId="700"/>
        <pc:sldMkLst>
          <pc:docMk/>
          <pc:sldMk cId="1998368502" sldId="257"/>
        </pc:sldMkLst>
      </pc:sldChg>
      <pc:sldChg chg="modSp add mod modClrScheme chgLayout">
        <pc:chgData name="Jan Cordtz" userId="b5e592fb-fc8b-4323-a97d-691438b2e2da" providerId="ADAL" clId="{4E22EDF5-2883-5D57-B9C7-04E66950367B}" dt="2026-01-13T07:56:40.436" v="1063" actId="115"/>
        <pc:sldMkLst>
          <pc:docMk/>
          <pc:sldMk cId="288678289" sldId="260"/>
        </pc:sldMkLst>
        <pc:spChg chg="mod ord">
          <ac:chgData name="Jan Cordtz" userId="b5e592fb-fc8b-4323-a97d-691438b2e2da" providerId="ADAL" clId="{4E22EDF5-2883-5D57-B9C7-04E66950367B}" dt="2026-01-13T07:56:40.436" v="1063" actId="115"/>
          <ac:spMkLst>
            <pc:docMk/>
            <pc:sldMk cId="288678289" sldId="260"/>
            <ac:spMk id="2" creationId="{8CC5CE8A-BC8F-DA3D-FC8C-CE6AF07A2752}"/>
          </ac:spMkLst>
        </pc:spChg>
        <pc:spChg chg="mod">
          <ac:chgData name="Jan Cordtz" userId="b5e592fb-fc8b-4323-a97d-691438b2e2da" providerId="ADAL" clId="{4E22EDF5-2883-5D57-B9C7-04E66950367B}" dt="2026-01-13T07:41:55.902" v="517" actId="20577"/>
          <ac:spMkLst>
            <pc:docMk/>
            <pc:sldMk cId="288678289" sldId="260"/>
            <ac:spMk id="16" creationId="{3E7A106F-4945-DCF8-2B12-9FA436BD00CB}"/>
          </ac:spMkLst>
        </pc:spChg>
        <pc:spChg chg="mod">
          <ac:chgData name="Jan Cordtz" userId="b5e592fb-fc8b-4323-a97d-691438b2e2da" providerId="ADAL" clId="{4E22EDF5-2883-5D57-B9C7-04E66950367B}" dt="2026-01-13T07:56:36.543" v="1062" actId="1076"/>
          <ac:spMkLst>
            <pc:docMk/>
            <pc:sldMk cId="288678289" sldId="260"/>
            <ac:spMk id="25" creationId="{0650A05C-C73D-6FF3-1224-F4145C4AEB94}"/>
          </ac:spMkLst>
        </pc:spChg>
        <pc:grpChg chg="mod">
          <ac:chgData name="Jan Cordtz" userId="b5e592fb-fc8b-4323-a97d-691438b2e2da" providerId="ADAL" clId="{4E22EDF5-2883-5D57-B9C7-04E66950367B}" dt="2026-01-13T07:56:36.543" v="1062" actId="1076"/>
          <ac:grpSpMkLst>
            <pc:docMk/>
            <pc:sldMk cId="288678289" sldId="260"/>
            <ac:grpSpMk id="7" creationId="{EE3738BE-8213-3EF8-5F8B-45F6B63A9B49}"/>
          </ac:grpSpMkLst>
        </pc:grpChg>
        <pc:grpChg chg="mod">
          <ac:chgData name="Jan Cordtz" userId="b5e592fb-fc8b-4323-a97d-691438b2e2da" providerId="ADAL" clId="{4E22EDF5-2883-5D57-B9C7-04E66950367B}" dt="2026-01-13T07:56:36.543" v="1062" actId="1076"/>
          <ac:grpSpMkLst>
            <pc:docMk/>
            <pc:sldMk cId="288678289" sldId="260"/>
            <ac:grpSpMk id="8" creationId="{0A587ECC-CAB8-A358-970F-73651079B0DB}"/>
          </ac:grpSpMkLst>
        </pc:grpChg>
        <pc:grpChg chg="mod">
          <ac:chgData name="Jan Cordtz" userId="b5e592fb-fc8b-4323-a97d-691438b2e2da" providerId="ADAL" clId="{4E22EDF5-2883-5D57-B9C7-04E66950367B}" dt="2026-01-13T07:56:36.543" v="1062" actId="1076"/>
          <ac:grpSpMkLst>
            <pc:docMk/>
            <pc:sldMk cId="288678289" sldId="260"/>
            <ac:grpSpMk id="13" creationId="{AD7C803A-28CC-8E00-37BB-28F6D2A93AA5}"/>
          </ac:grpSpMkLst>
        </pc:grpChg>
        <pc:grpChg chg="mod">
          <ac:chgData name="Jan Cordtz" userId="b5e592fb-fc8b-4323-a97d-691438b2e2da" providerId="ADAL" clId="{4E22EDF5-2883-5D57-B9C7-04E66950367B}" dt="2026-01-13T07:56:36.543" v="1062" actId="1076"/>
          <ac:grpSpMkLst>
            <pc:docMk/>
            <pc:sldMk cId="288678289" sldId="260"/>
            <ac:grpSpMk id="17" creationId="{956F2992-FD62-8620-87F6-39E9CF97DF8F}"/>
          </ac:grpSpMkLst>
        </pc:grpChg>
        <pc:grpChg chg="mod">
          <ac:chgData name="Jan Cordtz" userId="b5e592fb-fc8b-4323-a97d-691438b2e2da" providerId="ADAL" clId="{4E22EDF5-2883-5D57-B9C7-04E66950367B}" dt="2026-01-13T07:56:36.543" v="1062" actId="1076"/>
          <ac:grpSpMkLst>
            <pc:docMk/>
            <pc:sldMk cId="288678289" sldId="260"/>
            <ac:grpSpMk id="21" creationId="{A3D57CFC-92F2-F9DE-3C59-60F86308AD1D}"/>
          </ac:grpSpMkLst>
        </pc:grpChg>
        <pc:picChg chg="mod">
          <ac:chgData name="Jan Cordtz" userId="b5e592fb-fc8b-4323-a97d-691438b2e2da" providerId="ADAL" clId="{4E22EDF5-2883-5D57-B9C7-04E66950367B}" dt="2026-01-13T07:53:34.406" v="1057" actId="207"/>
          <ac:picMkLst>
            <pc:docMk/>
            <pc:sldMk cId="288678289" sldId="260"/>
            <ac:picMk id="4" creationId="{DEC8E9BE-FE10-A36B-F41C-6DC04666F0A2}"/>
          </ac:picMkLst>
        </pc:picChg>
        <pc:picChg chg="mod">
          <ac:chgData name="Jan Cordtz" userId="b5e592fb-fc8b-4323-a97d-691438b2e2da" providerId="ADAL" clId="{4E22EDF5-2883-5D57-B9C7-04E66950367B}" dt="2026-01-13T07:53:41.904" v="1058" actId="207"/>
          <ac:picMkLst>
            <pc:docMk/>
            <pc:sldMk cId="288678289" sldId="260"/>
            <ac:picMk id="9" creationId="{A4D367C4-56AE-82E8-3B0C-09254537CB9C}"/>
          </ac:picMkLst>
        </pc:picChg>
        <pc:picChg chg="mod">
          <ac:chgData name="Jan Cordtz" userId="b5e592fb-fc8b-4323-a97d-691438b2e2da" providerId="ADAL" clId="{4E22EDF5-2883-5D57-B9C7-04E66950367B}" dt="2026-01-13T07:53:45.127" v="1059" actId="207"/>
          <ac:picMkLst>
            <pc:docMk/>
            <pc:sldMk cId="288678289" sldId="260"/>
            <ac:picMk id="14" creationId="{6DBB65BA-EA55-9D6D-ED93-C457830DEB0B}"/>
          </ac:picMkLst>
        </pc:picChg>
        <pc:picChg chg="mod">
          <ac:chgData name="Jan Cordtz" userId="b5e592fb-fc8b-4323-a97d-691438b2e2da" providerId="ADAL" clId="{4E22EDF5-2883-5D57-B9C7-04E66950367B}" dt="2026-01-13T07:53:47.962" v="1060" actId="207"/>
          <ac:picMkLst>
            <pc:docMk/>
            <pc:sldMk cId="288678289" sldId="260"/>
            <ac:picMk id="18" creationId="{0FAF6E53-E4EC-4529-3996-A36CBA8DF21B}"/>
          </ac:picMkLst>
        </pc:picChg>
        <pc:picChg chg="mod">
          <ac:chgData name="Jan Cordtz" userId="b5e592fb-fc8b-4323-a97d-691438b2e2da" providerId="ADAL" clId="{4E22EDF5-2883-5D57-B9C7-04E66950367B}" dt="2026-01-13T07:53:51.235" v="1061" actId="207"/>
          <ac:picMkLst>
            <pc:docMk/>
            <pc:sldMk cId="288678289" sldId="260"/>
            <ac:picMk id="22" creationId="{E2BFD5E9-797C-C996-B7CA-6A2F6B5A01BD}"/>
          </ac:picMkLst>
        </pc:picChg>
      </pc:sldChg>
      <pc:sldChg chg="modSp add mod modClrScheme chgLayout">
        <pc:chgData name="Jan Cordtz" userId="b5e592fb-fc8b-4323-a97d-691438b2e2da" providerId="ADAL" clId="{4E22EDF5-2883-5D57-B9C7-04E66950367B}" dt="2026-01-13T07:41:25.255" v="514" actId="1076"/>
        <pc:sldMkLst>
          <pc:docMk/>
          <pc:sldMk cId="903870917" sldId="261"/>
        </pc:sldMkLst>
        <pc:spChg chg="mod ord">
          <ac:chgData name="Jan Cordtz" userId="b5e592fb-fc8b-4323-a97d-691438b2e2da" providerId="ADAL" clId="{4E22EDF5-2883-5D57-B9C7-04E66950367B}" dt="2026-01-13T07:41:25.255" v="514" actId="1076"/>
          <ac:spMkLst>
            <pc:docMk/>
            <pc:sldMk cId="903870917" sldId="261"/>
            <ac:spMk id="2" creationId="{06379A25-705B-ED94-83E1-3F8438AEB340}"/>
          </ac:spMkLst>
        </pc:spChg>
      </pc:sldChg>
      <pc:sldChg chg="modSp mod chgLayout">
        <pc:chgData name="Jan Cordtz" userId="b5e592fb-fc8b-4323-a97d-691438b2e2da" providerId="ADAL" clId="{4E22EDF5-2883-5D57-B9C7-04E66950367B}" dt="2026-01-13T07:32:22.121" v="443" actId="1076"/>
        <pc:sldMkLst>
          <pc:docMk/>
          <pc:sldMk cId="3492520798" sldId="266"/>
        </pc:sldMkLst>
        <pc:spChg chg="mod ord">
          <ac:chgData name="Jan Cordtz" userId="b5e592fb-fc8b-4323-a97d-691438b2e2da" providerId="ADAL" clId="{4E22EDF5-2883-5D57-B9C7-04E66950367B}" dt="2026-01-13T07:32:22.121" v="443" actId="1076"/>
          <ac:spMkLst>
            <pc:docMk/>
            <pc:sldMk cId="3492520798" sldId="266"/>
            <ac:spMk id="3" creationId="{D931B80B-47AB-462A-3B6D-12C2B3CA9430}"/>
          </ac:spMkLst>
        </pc:spChg>
      </pc:sldChg>
      <pc:sldChg chg="modSp mod chgLayout">
        <pc:chgData name="Jan Cordtz" userId="b5e592fb-fc8b-4323-a97d-691438b2e2da" providerId="ADAL" clId="{4E22EDF5-2883-5D57-B9C7-04E66950367B}" dt="2026-01-13T07:32:12.457" v="442" actId="1076"/>
        <pc:sldMkLst>
          <pc:docMk/>
          <pc:sldMk cId="4252725827" sldId="277"/>
        </pc:sldMkLst>
        <pc:spChg chg="mod ord">
          <ac:chgData name="Jan Cordtz" userId="b5e592fb-fc8b-4323-a97d-691438b2e2da" providerId="ADAL" clId="{4E22EDF5-2883-5D57-B9C7-04E66950367B}" dt="2026-01-13T07:32:12.457" v="442" actId="1076"/>
          <ac:spMkLst>
            <pc:docMk/>
            <pc:sldMk cId="4252725827" sldId="277"/>
            <ac:spMk id="2" creationId="{71E8CFDA-6856-163A-756B-07F6A1B965D3}"/>
          </ac:spMkLst>
        </pc:spChg>
      </pc:sldChg>
      <pc:sldChg chg="modSp mod chgLayout">
        <pc:chgData name="Jan Cordtz" userId="b5e592fb-fc8b-4323-a97d-691438b2e2da" providerId="ADAL" clId="{4E22EDF5-2883-5D57-B9C7-04E66950367B}" dt="2026-01-13T07:32:01.936" v="441" actId="207"/>
        <pc:sldMkLst>
          <pc:docMk/>
          <pc:sldMk cId="1270669401" sldId="321"/>
        </pc:sldMkLst>
        <pc:spChg chg="mod">
          <ac:chgData name="Jan Cordtz" userId="b5e592fb-fc8b-4323-a97d-691438b2e2da" providerId="ADAL" clId="{4E22EDF5-2883-5D57-B9C7-04E66950367B}" dt="2026-01-13T07:32:01.936" v="441" actId="207"/>
          <ac:spMkLst>
            <pc:docMk/>
            <pc:sldMk cId="1270669401" sldId="321"/>
            <ac:spMk id="11" creationId="{1E4ACD33-D578-82A2-407C-B2DCD511335F}"/>
          </ac:spMkLst>
        </pc:spChg>
        <pc:spChg chg="mod">
          <ac:chgData name="Jan Cordtz" userId="b5e592fb-fc8b-4323-a97d-691438b2e2da" providerId="ADAL" clId="{4E22EDF5-2883-5D57-B9C7-04E66950367B}" dt="2026-01-13T07:32:01.936" v="441" actId="207"/>
          <ac:spMkLst>
            <pc:docMk/>
            <pc:sldMk cId="1270669401" sldId="321"/>
            <ac:spMk id="13" creationId="{7FA5A399-15A7-868A-E7AB-D4A4B6638DC4}"/>
          </ac:spMkLst>
        </pc:spChg>
        <pc:spChg chg="mod">
          <ac:chgData name="Jan Cordtz" userId="b5e592fb-fc8b-4323-a97d-691438b2e2da" providerId="ADAL" clId="{4E22EDF5-2883-5D57-B9C7-04E66950367B}" dt="2026-01-13T07:31:44.198" v="269" actId="207"/>
          <ac:spMkLst>
            <pc:docMk/>
            <pc:sldMk cId="1270669401" sldId="321"/>
            <ac:spMk id="14" creationId="{5897359C-B6F7-92DC-6E8B-4AA26D9B963D}"/>
          </ac:spMkLst>
        </pc:spChg>
        <pc:spChg chg="mod">
          <ac:chgData name="Jan Cordtz" userId="b5e592fb-fc8b-4323-a97d-691438b2e2da" providerId="ADAL" clId="{4E22EDF5-2883-5D57-B9C7-04E66950367B}" dt="2026-01-13T07:32:01.936" v="441" actId="207"/>
          <ac:spMkLst>
            <pc:docMk/>
            <pc:sldMk cId="1270669401" sldId="321"/>
            <ac:spMk id="15" creationId="{8338AC54-2256-7F19-1396-86730D40718B}"/>
          </ac:spMkLst>
        </pc:spChg>
        <pc:spChg chg="mod ord">
          <ac:chgData name="Jan Cordtz" userId="b5e592fb-fc8b-4323-a97d-691438b2e2da" providerId="ADAL" clId="{4E22EDF5-2883-5D57-B9C7-04E66950367B}" dt="2026-01-13T07:31:02.562" v="42" actId="700"/>
          <ac:spMkLst>
            <pc:docMk/>
            <pc:sldMk cId="1270669401" sldId="321"/>
            <ac:spMk id="23" creationId="{B4E38DEF-9694-0F0B-75ED-9FC3817DE18E}"/>
          </ac:spMkLst>
        </pc:spChg>
        <pc:spChg chg="mod ord">
          <ac:chgData name="Jan Cordtz" userId="b5e592fb-fc8b-4323-a97d-691438b2e2da" providerId="ADAL" clId="{4E22EDF5-2883-5D57-B9C7-04E66950367B}" dt="2026-01-13T07:31:02.562" v="42" actId="700"/>
          <ac:spMkLst>
            <pc:docMk/>
            <pc:sldMk cId="1270669401" sldId="321"/>
            <ac:spMk id="40" creationId="{323A6375-ED23-FE89-1617-E436A5717922}"/>
          </ac:spMkLst>
        </pc:spChg>
      </pc:sldChg>
      <pc:sldChg chg="modSp mod chgLayout">
        <pc:chgData name="Jan Cordtz" userId="b5e592fb-fc8b-4323-a97d-691438b2e2da" providerId="ADAL" clId="{4E22EDF5-2883-5D57-B9C7-04E66950367B}" dt="2026-01-13T07:30:37.648" v="41" actId="1076"/>
        <pc:sldMkLst>
          <pc:docMk/>
          <pc:sldMk cId="2246849300" sldId="2147469983"/>
        </pc:sldMkLst>
        <pc:spChg chg="mod ord">
          <ac:chgData name="Jan Cordtz" userId="b5e592fb-fc8b-4323-a97d-691438b2e2da" providerId="ADAL" clId="{4E22EDF5-2883-5D57-B9C7-04E66950367B}" dt="2026-01-13T07:30:37.648" v="41" actId="1076"/>
          <ac:spMkLst>
            <pc:docMk/>
            <pc:sldMk cId="2246849300" sldId="2147469983"/>
            <ac:spMk id="8" creationId="{B969DA3E-A9D2-AB4E-93C6-1AFC6F71AAB4}"/>
          </ac:spMkLst>
        </pc:spChg>
        <pc:spChg chg="mod">
          <ac:chgData name="Jan Cordtz" userId="b5e592fb-fc8b-4323-a97d-691438b2e2da" providerId="ADAL" clId="{4E22EDF5-2883-5D57-B9C7-04E66950367B}" dt="2026-01-13T07:30:22.951" v="40" actId="108"/>
          <ac:spMkLst>
            <pc:docMk/>
            <pc:sldMk cId="2246849300" sldId="2147469983"/>
            <ac:spMk id="13" creationId="{961D10A6-8A80-439A-0CB2-0C63DD32A757}"/>
          </ac:spMkLst>
        </pc:spChg>
      </pc:sldChg>
      <pc:sldChg chg="modSp mod chgLayout">
        <pc:chgData name="Jan Cordtz" userId="b5e592fb-fc8b-4323-a97d-691438b2e2da" providerId="ADAL" clId="{4E22EDF5-2883-5D57-B9C7-04E66950367B}" dt="2026-01-13T07:31:17.303" v="44" actId="1076"/>
        <pc:sldMkLst>
          <pc:docMk/>
          <pc:sldMk cId="3452717658" sldId="2147470550"/>
        </pc:sldMkLst>
        <pc:spChg chg="mod ord">
          <ac:chgData name="Jan Cordtz" userId="b5e592fb-fc8b-4323-a97d-691438b2e2da" providerId="ADAL" clId="{4E22EDF5-2883-5D57-B9C7-04E66950367B}" dt="2026-01-13T07:31:17.303" v="44" actId="1076"/>
          <ac:spMkLst>
            <pc:docMk/>
            <pc:sldMk cId="3452717658" sldId="2147470550"/>
            <ac:spMk id="5" creationId="{B01CEEE4-CEB9-4403-B4FE-E12B4C05B6D0}"/>
          </ac:spMkLst>
        </pc:spChg>
        <pc:spChg chg="mod ord">
          <ac:chgData name="Jan Cordtz" userId="b5e592fb-fc8b-4323-a97d-691438b2e2da" providerId="ADAL" clId="{4E22EDF5-2883-5D57-B9C7-04E66950367B}" dt="2026-01-13T07:31:02.562" v="42" actId="700"/>
          <ac:spMkLst>
            <pc:docMk/>
            <pc:sldMk cId="3452717658" sldId="2147470550"/>
            <ac:spMk id="9" creationId="{2F6CF299-06B1-425A-A0AE-AE641938D6BA}"/>
          </ac:spMkLst>
        </pc:spChg>
        <pc:spChg chg="mod ord">
          <ac:chgData name="Jan Cordtz" userId="b5e592fb-fc8b-4323-a97d-691438b2e2da" providerId="ADAL" clId="{4E22EDF5-2883-5D57-B9C7-04E66950367B}" dt="2026-01-13T07:31:02.562" v="42" actId="700"/>
          <ac:spMkLst>
            <pc:docMk/>
            <pc:sldMk cId="3452717658" sldId="2147470550"/>
            <ac:spMk id="10" creationId="{93548360-E01F-464C-804E-86BC9C05B33B}"/>
          </ac:spMkLst>
        </pc:spChg>
      </pc:sldChg>
      <pc:sldChg chg="modSp mod modClrScheme chgLayout">
        <pc:chgData name="Jan Cordtz" userId="b5e592fb-fc8b-4323-a97d-691438b2e2da" providerId="ADAL" clId="{4E22EDF5-2883-5D57-B9C7-04E66950367B}" dt="2026-01-13T07:31:02.562" v="42" actId="700"/>
        <pc:sldMkLst>
          <pc:docMk/>
          <pc:sldMk cId="1576175795" sldId="2147477266"/>
        </pc:sldMkLst>
        <pc:spChg chg="mod ord">
          <ac:chgData name="Jan Cordtz" userId="b5e592fb-fc8b-4323-a97d-691438b2e2da" providerId="ADAL" clId="{4E22EDF5-2883-5D57-B9C7-04E66950367B}" dt="2026-01-13T07:31:02.562" v="42" actId="700"/>
          <ac:spMkLst>
            <pc:docMk/>
            <pc:sldMk cId="1576175795" sldId="2147477266"/>
            <ac:spMk id="2" creationId="{A0498535-FE2E-0B62-1903-A0C4F20F4145}"/>
          </ac:spMkLst>
        </pc:spChg>
        <pc:spChg chg="mod ord">
          <ac:chgData name="Jan Cordtz" userId="b5e592fb-fc8b-4323-a97d-691438b2e2da" providerId="ADAL" clId="{4E22EDF5-2883-5D57-B9C7-04E66950367B}" dt="2026-01-13T07:31:02.562" v="42" actId="700"/>
          <ac:spMkLst>
            <pc:docMk/>
            <pc:sldMk cId="1576175795" sldId="2147477266"/>
            <ac:spMk id="4" creationId="{AD90C035-2357-5914-02E4-6DA68D672587}"/>
          </ac:spMkLst>
        </pc:spChg>
        <pc:spChg chg="mod ord">
          <ac:chgData name="Jan Cordtz" userId="b5e592fb-fc8b-4323-a97d-691438b2e2da" providerId="ADAL" clId="{4E22EDF5-2883-5D57-B9C7-04E66950367B}" dt="2026-01-13T07:31:02.562" v="42" actId="700"/>
          <ac:spMkLst>
            <pc:docMk/>
            <pc:sldMk cId="1576175795" sldId="2147477266"/>
            <ac:spMk id="106" creationId="{CBD05517-D466-193C-B8F2-7D4FCFF52565}"/>
          </ac:spMkLst>
        </pc:spChg>
      </pc:sldChg>
      <pc:sldChg chg="modSp mod">
        <pc:chgData name="Jan Cordtz" userId="b5e592fb-fc8b-4323-a97d-691438b2e2da" providerId="ADAL" clId="{4E22EDF5-2883-5D57-B9C7-04E66950367B}" dt="2026-01-13T07:57:23.623" v="1077" actId="114"/>
        <pc:sldMkLst>
          <pc:docMk/>
          <pc:sldMk cId="3886619284" sldId="2147477909"/>
        </pc:sldMkLst>
        <pc:spChg chg="mod">
          <ac:chgData name="Jan Cordtz" userId="b5e592fb-fc8b-4323-a97d-691438b2e2da" providerId="ADAL" clId="{4E22EDF5-2883-5D57-B9C7-04E66950367B}" dt="2026-01-13T07:57:23.623" v="1077" actId="114"/>
          <ac:spMkLst>
            <pc:docMk/>
            <pc:sldMk cId="3886619284" sldId="2147477909"/>
            <ac:spMk id="37" creationId="{40CB8A5C-7978-D6DF-6BCB-6AA6077897C3}"/>
          </ac:spMkLst>
        </pc:spChg>
      </pc:sldChg>
      <pc:sldChg chg="modSp mod modClrScheme chgLayout">
        <pc:chgData name="Jan Cordtz" userId="b5e592fb-fc8b-4323-a97d-691438b2e2da" providerId="ADAL" clId="{4E22EDF5-2883-5D57-B9C7-04E66950367B}" dt="2026-01-13T07:31:12.135" v="43" actId="1076"/>
        <pc:sldMkLst>
          <pc:docMk/>
          <pc:sldMk cId="3999867685" sldId="2147482672"/>
        </pc:sldMkLst>
        <pc:spChg chg="mod ord">
          <ac:chgData name="Jan Cordtz" userId="b5e592fb-fc8b-4323-a97d-691438b2e2da" providerId="ADAL" clId="{4E22EDF5-2883-5D57-B9C7-04E66950367B}" dt="2026-01-13T07:31:12.135" v="43" actId="1076"/>
          <ac:spMkLst>
            <pc:docMk/>
            <pc:sldMk cId="3999867685" sldId="2147482672"/>
            <ac:spMk id="2" creationId="{16DFB4A6-84F3-6348-A1E3-3FA99BC112D9}"/>
          </ac:spMkLst>
        </pc:spChg>
      </pc:sldChg>
      <pc:sldChg chg="modSp mod chgLayout">
        <pc:chgData name="Jan Cordtz" userId="b5e592fb-fc8b-4323-a97d-691438b2e2da" providerId="ADAL" clId="{4E22EDF5-2883-5D57-B9C7-04E66950367B}" dt="2026-01-13T07:31:02.562" v="42" actId="700"/>
        <pc:sldMkLst>
          <pc:docMk/>
          <pc:sldMk cId="229052225" sldId="2147482673"/>
        </pc:sldMkLst>
        <pc:spChg chg="mod ord">
          <ac:chgData name="Jan Cordtz" userId="b5e592fb-fc8b-4323-a97d-691438b2e2da" providerId="ADAL" clId="{4E22EDF5-2883-5D57-B9C7-04E66950367B}" dt="2026-01-13T07:31:02.562" v="42" actId="700"/>
          <ac:spMkLst>
            <pc:docMk/>
            <pc:sldMk cId="229052225" sldId="2147482673"/>
            <ac:spMk id="17" creationId="{DC9591C5-4462-45E5-453C-8CD37EC9D71C}"/>
          </ac:spMkLst>
        </pc:spChg>
      </pc:sldChg>
      <pc:sldChg chg="modSp mod chgLayout">
        <pc:chgData name="Jan Cordtz" userId="b5e592fb-fc8b-4323-a97d-691438b2e2da" providerId="ADAL" clId="{4E22EDF5-2883-5D57-B9C7-04E66950367B}" dt="2026-01-13T07:31:02.562" v="42" actId="700"/>
        <pc:sldMkLst>
          <pc:docMk/>
          <pc:sldMk cId="0" sldId="2147483429"/>
        </pc:sldMkLst>
        <pc:spChg chg="mod ord">
          <ac:chgData name="Jan Cordtz" userId="b5e592fb-fc8b-4323-a97d-691438b2e2da" providerId="ADAL" clId="{4E22EDF5-2883-5D57-B9C7-04E66950367B}" dt="2026-01-13T07:31:02.562" v="42" actId="700"/>
          <ac:spMkLst>
            <pc:docMk/>
            <pc:sldMk cId="0" sldId="2147483429"/>
            <ac:spMk id="8" creationId="{A2245FE4-C2A4-66EF-BEBC-A714BEAE5E7F}"/>
          </ac:spMkLst>
        </pc:spChg>
      </pc:sldChg>
      <pc:sldChg chg="del">
        <pc:chgData name="Jan Cordtz" userId="b5e592fb-fc8b-4323-a97d-691438b2e2da" providerId="ADAL" clId="{4E22EDF5-2883-5D57-B9C7-04E66950367B}" dt="2026-01-13T07:29:25.432" v="32" actId="2696"/>
        <pc:sldMkLst>
          <pc:docMk/>
          <pc:sldMk cId="793374601" sldId="2147483445"/>
        </pc:sldMkLst>
      </pc:sldChg>
      <pc:sldChg chg="addSp modSp new mod chgLayout">
        <pc:chgData name="Jan Cordtz" userId="b5e592fb-fc8b-4323-a97d-691438b2e2da" providerId="ADAL" clId="{4E22EDF5-2883-5D57-B9C7-04E66950367B}" dt="2026-01-13T07:42:49.551" v="564" actId="20577"/>
        <pc:sldMkLst>
          <pc:docMk/>
          <pc:sldMk cId="3127754395" sldId="2147483490"/>
        </pc:sldMkLst>
        <pc:spChg chg="mod ord">
          <ac:chgData name="Jan Cordtz" userId="b5e592fb-fc8b-4323-a97d-691438b2e2da" providerId="ADAL" clId="{4E22EDF5-2883-5D57-B9C7-04E66950367B}" dt="2026-01-13T07:16:29.574" v="1" actId="700"/>
          <ac:spMkLst>
            <pc:docMk/>
            <pc:sldMk cId="3127754395" sldId="2147483490"/>
            <ac:spMk id="2" creationId="{C7BAD817-C107-F669-AC41-FDA1DDEEFEB2}"/>
          </ac:spMkLst>
        </pc:spChg>
        <pc:spChg chg="mod ord">
          <ac:chgData name="Jan Cordtz" userId="b5e592fb-fc8b-4323-a97d-691438b2e2da" providerId="ADAL" clId="{4E22EDF5-2883-5D57-B9C7-04E66950367B}" dt="2026-01-13T07:16:29.574" v="1" actId="700"/>
          <ac:spMkLst>
            <pc:docMk/>
            <pc:sldMk cId="3127754395" sldId="2147483490"/>
            <ac:spMk id="3" creationId="{13FC5B94-B7FB-A26F-F76F-D196DD5D04A1}"/>
          </ac:spMkLst>
        </pc:spChg>
        <pc:spChg chg="add mod">
          <ac:chgData name="Jan Cordtz" userId="b5e592fb-fc8b-4323-a97d-691438b2e2da" providerId="ADAL" clId="{4E22EDF5-2883-5D57-B9C7-04E66950367B}" dt="2026-01-13T07:42:49.551" v="564" actId="20577"/>
          <ac:spMkLst>
            <pc:docMk/>
            <pc:sldMk cId="3127754395" sldId="2147483490"/>
            <ac:spMk id="4" creationId="{03A09898-15C1-B268-5FDF-AF0AE8662ABC}"/>
          </ac:spMkLst>
        </pc:spChg>
      </pc:sldChg>
      <pc:sldChg chg="addSp modSp add mod">
        <pc:chgData name="Jan Cordtz" userId="b5e592fb-fc8b-4323-a97d-691438b2e2da" providerId="ADAL" clId="{4E22EDF5-2883-5D57-B9C7-04E66950367B}" dt="2026-01-13T09:10:25.997" v="1400"/>
        <pc:sldMkLst>
          <pc:docMk/>
          <pc:sldMk cId="840850604" sldId="2147483491"/>
        </pc:sldMkLst>
        <pc:spChg chg="mod">
          <ac:chgData name="Jan Cordtz" userId="b5e592fb-fc8b-4323-a97d-691438b2e2da" providerId="ADAL" clId="{4E22EDF5-2883-5D57-B9C7-04E66950367B}" dt="2026-01-13T07:29:38.079" v="36" actId="1076"/>
          <ac:spMkLst>
            <pc:docMk/>
            <pc:sldMk cId="840850604" sldId="2147483491"/>
            <ac:spMk id="24" creationId="{A4F5D922-AE45-FA32-F6EB-C32BB99FED31}"/>
          </ac:spMkLst>
        </pc:spChg>
        <pc:spChg chg="add mod">
          <ac:chgData name="Jan Cordtz" userId="b5e592fb-fc8b-4323-a97d-691438b2e2da" providerId="ADAL" clId="{4E22EDF5-2883-5D57-B9C7-04E66950367B}" dt="2026-01-13T09:10:25.997" v="1400"/>
          <ac:spMkLst>
            <pc:docMk/>
            <pc:sldMk cId="840850604" sldId="2147483491"/>
            <ac:spMk id="29" creationId="{1D4D535F-E148-8EB6-9864-66CADA64AC3D}"/>
          </ac:spMkLst>
        </pc:spChg>
      </pc:sldChg>
      <pc:sldChg chg="addSp modSp new mod modClrScheme chgLayout">
        <pc:chgData name="Jan Cordtz" userId="b5e592fb-fc8b-4323-a97d-691438b2e2da" providerId="ADAL" clId="{4E22EDF5-2883-5D57-B9C7-04E66950367B}" dt="2026-01-13T07:50:49.407" v="1034" actId="1076"/>
        <pc:sldMkLst>
          <pc:docMk/>
          <pc:sldMk cId="2416850360" sldId="2147483492"/>
        </pc:sldMkLst>
        <pc:spChg chg="add mod">
          <ac:chgData name="Jan Cordtz" userId="b5e592fb-fc8b-4323-a97d-691438b2e2da" providerId="ADAL" clId="{4E22EDF5-2883-5D57-B9C7-04E66950367B}" dt="2026-01-13T07:45:28.367" v="729" actId="20577"/>
          <ac:spMkLst>
            <pc:docMk/>
            <pc:sldMk cId="2416850360" sldId="2147483492"/>
            <ac:spMk id="2" creationId="{3A238D8A-86EA-5493-EF23-2ED15365BC55}"/>
          </ac:spMkLst>
        </pc:spChg>
        <pc:spChg chg="add mod">
          <ac:chgData name="Jan Cordtz" userId="b5e592fb-fc8b-4323-a97d-691438b2e2da" providerId="ADAL" clId="{4E22EDF5-2883-5D57-B9C7-04E66950367B}" dt="2026-01-13T07:45:07.674" v="723" actId="404"/>
          <ac:spMkLst>
            <pc:docMk/>
            <pc:sldMk cId="2416850360" sldId="2147483492"/>
            <ac:spMk id="3" creationId="{5C2E154F-CC77-4C17-B036-714097A0F4D3}"/>
          </ac:spMkLst>
        </pc:spChg>
        <pc:spChg chg="add mod">
          <ac:chgData name="Jan Cordtz" userId="b5e592fb-fc8b-4323-a97d-691438b2e2da" providerId="ADAL" clId="{4E22EDF5-2883-5D57-B9C7-04E66950367B}" dt="2026-01-13T07:50:23.790" v="1027" actId="1076"/>
          <ac:spMkLst>
            <pc:docMk/>
            <pc:sldMk cId="2416850360" sldId="2147483492"/>
            <ac:spMk id="4" creationId="{1772D2B5-6901-C050-43BA-454592A95C13}"/>
          </ac:spMkLst>
        </pc:spChg>
        <pc:spChg chg="add mod">
          <ac:chgData name="Jan Cordtz" userId="b5e592fb-fc8b-4323-a97d-691438b2e2da" providerId="ADAL" clId="{4E22EDF5-2883-5D57-B9C7-04E66950367B}" dt="2026-01-13T07:50:23.790" v="1027" actId="1076"/>
          <ac:spMkLst>
            <pc:docMk/>
            <pc:sldMk cId="2416850360" sldId="2147483492"/>
            <ac:spMk id="5" creationId="{7CE6D7FE-1CC7-7E39-A4E1-D4595039AA40}"/>
          </ac:spMkLst>
        </pc:spChg>
        <pc:spChg chg="add mod">
          <ac:chgData name="Jan Cordtz" userId="b5e592fb-fc8b-4323-a97d-691438b2e2da" providerId="ADAL" clId="{4E22EDF5-2883-5D57-B9C7-04E66950367B}" dt="2026-01-13T07:42:36.727" v="545" actId="20577"/>
          <ac:spMkLst>
            <pc:docMk/>
            <pc:sldMk cId="2416850360" sldId="2147483492"/>
            <ac:spMk id="6" creationId="{F3D79C8A-C1C7-7A6C-D1E3-5A07482A4655}"/>
          </ac:spMkLst>
        </pc:spChg>
        <pc:spChg chg="add mod">
          <ac:chgData name="Jan Cordtz" userId="b5e592fb-fc8b-4323-a97d-691438b2e2da" providerId="ADAL" clId="{4E22EDF5-2883-5D57-B9C7-04E66950367B}" dt="2026-01-13T07:46:04.332" v="800" actId="404"/>
          <ac:spMkLst>
            <pc:docMk/>
            <pc:sldMk cId="2416850360" sldId="2147483492"/>
            <ac:spMk id="7" creationId="{AA0F087E-FAB2-A495-5DA5-A768B29927B2}"/>
          </ac:spMkLst>
        </pc:spChg>
        <pc:spChg chg="add mod">
          <ac:chgData name="Jan Cordtz" userId="b5e592fb-fc8b-4323-a97d-691438b2e2da" providerId="ADAL" clId="{4E22EDF5-2883-5D57-B9C7-04E66950367B}" dt="2026-01-13T07:50:49.407" v="1034" actId="1076"/>
          <ac:spMkLst>
            <pc:docMk/>
            <pc:sldMk cId="2416850360" sldId="2147483492"/>
            <ac:spMk id="8" creationId="{CD64AB4A-5A75-B9AF-9C2A-E8C3C0C92FDE}"/>
          </ac:spMkLst>
        </pc:spChg>
        <pc:spChg chg="add mod">
          <ac:chgData name="Jan Cordtz" userId="b5e592fb-fc8b-4323-a97d-691438b2e2da" providerId="ADAL" clId="{4E22EDF5-2883-5D57-B9C7-04E66950367B}" dt="2026-01-13T07:44:06.513" v="615" actId="1076"/>
          <ac:spMkLst>
            <pc:docMk/>
            <pc:sldMk cId="2416850360" sldId="2147483492"/>
            <ac:spMk id="9" creationId="{92E23921-23BE-BD09-B598-488924FEB358}"/>
          </ac:spMkLst>
        </pc:spChg>
        <pc:spChg chg="add mod">
          <ac:chgData name="Jan Cordtz" userId="b5e592fb-fc8b-4323-a97d-691438b2e2da" providerId="ADAL" clId="{4E22EDF5-2883-5D57-B9C7-04E66950367B}" dt="2026-01-13T07:49:13.698" v="1010" actId="14100"/>
          <ac:spMkLst>
            <pc:docMk/>
            <pc:sldMk cId="2416850360" sldId="2147483492"/>
            <ac:spMk id="10" creationId="{576CF7CA-A583-FE6E-B33B-7F8CAF3F8550}"/>
          </ac:spMkLst>
        </pc:spChg>
        <pc:spChg chg="add mod">
          <ac:chgData name="Jan Cordtz" userId="b5e592fb-fc8b-4323-a97d-691438b2e2da" providerId="ADAL" clId="{4E22EDF5-2883-5D57-B9C7-04E66950367B}" dt="2026-01-13T07:49:24.807" v="1014" actId="1076"/>
          <ac:spMkLst>
            <pc:docMk/>
            <pc:sldMk cId="2416850360" sldId="2147483492"/>
            <ac:spMk id="11" creationId="{FA5D45B7-B28D-D961-A14E-876400129042}"/>
          </ac:spMkLst>
        </pc:spChg>
        <pc:spChg chg="add mod">
          <ac:chgData name="Jan Cordtz" userId="b5e592fb-fc8b-4323-a97d-691438b2e2da" providerId="ADAL" clId="{4E22EDF5-2883-5D57-B9C7-04E66950367B}" dt="2026-01-13T07:50:07.546" v="1024" actId="14100"/>
          <ac:spMkLst>
            <pc:docMk/>
            <pc:sldMk cId="2416850360" sldId="2147483492"/>
            <ac:spMk id="12" creationId="{891E990F-A751-0967-1AF5-B33D42DA8ACB}"/>
          </ac:spMkLst>
        </pc:spChg>
        <pc:spChg chg="add mod">
          <ac:chgData name="Jan Cordtz" userId="b5e592fb-fc8b-4323-a97d-691438b2e2da" providerId="ADAL" clId="{4E22EDF5-2883-5D57-B9C7-04E66950367B}" dt="2026-01-13T07:50:41.322" v="1032" actId="1076"/>
          <ac:spMkLst>
            <pc:docMk/>
            <pc:sldMk cId="2416850360" sldId="2147483492"/>
            <ac:spMk id="13" creationId="{A6CCF9B6-776E-C9C5-DD48-962D93A2F1B5}"/>
          </ac:spMkLst>
        </pc:spChg>
        <pc:spChg chg="add mod">
          <ac:chgData name="Jan Cordtz" userId="b5e592fb-fc8b-4323-a97d-691438b2e2da" providerId="ADAL" clId="{4E22EDF5-2883-5D57-B9C7-04E66950367B}" dt="2026-01-13T07:50:43.002" v="1033" actId="1076"/>
          <ac:spMkLst>
            <pc:docMk/>
            <pc:sldMk cId="2416850360" sldId="2147483492"/>
            <ac:spMk id="14" creationId="{0768B99E-02EE-7A64-4B3B-38A0F02B9244}"/>
          </ac:spMkLst>
        </pc:spChg>
        <pc:spChg chg="add mod">
          <ac:chgData name="Jan Cordtz" userId="b5e592fb-fc8b-4323-a97d-691438b2e2da" providerId="ADAL" clId="{4E22EDF5-2883-5D57-B9C7-04E66950367B}" dt="2026-01-13T07:50:18.788" v="1026" actId="1076"/>
          <ac:spMkLst>
            <pc:docMk/>
            <pc:sldMk cId="2416850360" sldId="2147483492"/>
            <ac:spMk id="15" creationId="{0DCB2E8D-9133-493E-A052-247EE5BC61FE}"/>
          </ac:spMkLst>
        </pc:spChg>
      </pc:sldChg>
      <pc:sldChg chg="modSp add mod modClrScheme chgLayout">
        <pc:chgData name="Jan Cordtz" userId="b5e592fb-fc8b-4323-a97d-691438b2e2da" providerId="ADAL" clId="{4E22EDF5-2883-5D57-B9C7-04E66950367B}" dt="2026-01-13T07:51:30.162" v="1036" actId="207"/>
        <pc:sldMkLst>
          <pc:docMk/>
          <pc:sldMk cId="2818008795" sldId="2147483642"/>
        </pc:sldMkLst>
        <pc:spChg chg="mod ord">
          <ac:chgData name="Jan Cordtz" userId="b5e592fb-fc8b-4323-a97d-691438b2e2da" providerId="ADAL" clId="{4E22EDF5-2883-5D57-B9C7-04E66950367B}" dt="2026-01-13T07:41:19.614" v="513" actId="1076"/>
          <ac:spMkLst>
            <pc:docMk/>
            <pc:sldMk cId="2818008795" sldId="2147483642"/>
            <ac:spMk id="2" creationId="{1DEEFF75-FBFB-4DD2-7256-BC06FC45D6F6}"/>
          </ac:spMkLst>
        </pc:spChg>
        <pc:spChg chg="mod">
          <ac:chgData name="Jan Cordtz" userId="b5e592fb-fc8b-4323-a97d-691438b2e2da" providerId="ADAL" clId="{4E22EDF5-2883-5D57-B9C7-04E66950367B}" dt="2026-01-13T07:51:30.162" v="1036" actId="207"/>
          <ac:spMkLst>
            <pc:docMk/>
            <pc:sldMk cId="2818008795" sldId="2147483642"/>
            <ac:spMk id="46" creationId="{55C1F9F7-F09A-3B37-A524-C60164FD7393}"/>
          </ac:spMkLst>
        </pc:spChg>
        <pc:spChg chg="mod">
          <ac:chgData name="Jan Cordtz" userId="b5e592fb-fc8b-4323-a97d-691438b2e2da" providerId="ADAL" clId="{4E22EDF5-2883-5D57-B9C7-04E66950367B}" dt="2026-01-13T07:51:30.162" v="1036" actId="207"/>
          <ac:spMkLst>
            <pc:docMk/>
            <pc:sldMk cId="2818008795" sldId="2147483642"/>
            <ac:spMk id="48" creationId="{73EFAC97-AA0C-40FC-7B2B-DCCACB070C28}"/>
          </ac:spMkLst>
        </pc:spChg>
        <pc:spChg chg="mod">
          <ac:chgData name="Jan Cordtz" userId="b5e592fb-fc8b-4323-a97d-691438b2e2da" providerId="ADAL" clId="{4E22EDF5-2883-5D57-B9C7-04E66950367B}" dt="2026-01-13T07:51:30.162" v="1036" actId="207"/>
          <ac:spMkLst>
            <pc:docMk/>
            <pc:sldMk cId="2818008795" sldId="2147483642"/>
            <ac:spMk id="55" creationId="{B0E598E2-0A97-43D8-734F-ECF27BA2E099}"/>
          </ac:spMkLst>
        </pc:spChg>
        <pc:spChg chg="mod">
          <ac:chgData name="Jan Cordtz" userId="b5e592fb-fc8b-4323-a97d-691438b2e2da" providerId="ADAL" clId="{4E22EDF5-2883-5D57-B9C7-04E66950367B}" dt="2026-01-13T07:51:30.162" v="1036" actId="207"/>
          <ac:spMkLst>
            <pc:docMk/>
            <pc:sldMk cId="2818008795" sldId="2147483642"/>
            <ac:spMk id="56" creationId="{AE5C6FF5-A1F3-090D-8A75-413C9699AA98}"/>
          </ac:spMkLst>
        </pc:spChg>
        <pc:spChg chg="mod">
          <ac:chgData name="Jan Cordtz" userId="b5e592fb-fc8b-4323-a97d-691438b2e2da" providerId="ADAL" clId="{4E22EDF5-2883-5D57-B9C7-04E66950367B}" dt="2026-01-13T07:51:30.162" v="1036" actId="207"/>
          <ac:spMkLst>
            <pc:docMk/>
            <pc:sldMk cId="2818008795" sldId="2147483642"/>
            <ac:spMk id="57" creationId="{A81F8A67-8015-A9BC-5A84-362106E9FFE1}"/>
          </ac:spMkLst>
        </pc:spChg>
        <pc:spChg chg="mod">
          <ac:chgData name="Jan Cordtz" userId="b5e592fb-fc8b-4323-a97d-691438b2e2da" providerId="ADAL" clId="{4E22EDF5-2883-5D57-B9C7-04E66950367B}" dt="2026-01-13T07:51:30.162" v="1036" actId="207"/>
          <ac:spMkLst>
            <pc:docMk/>
            <pc:sldMk cId="2818008795" sldId="2147483642"/>
            <ac:spMk id="63" creationId="{96F8F779-3D9C-C95A-4842-6E03578F17C1}"/>
          </ac:spMkLst>
        </pc:spChg>
        <pc:spChg chg="mod">
          <ac:chgData name="Jan Cordtz" userId="b5e592fb-fc8b-4323-a97d-691438b2e2da" providerId="ADAL" clId="{4E22EDF5-2883-5D57-B9C7-04E66950367B}" dt="2026-01-13T07:51:30.162" v="1036" actId="207"/>
          <ac:spMkLst>
            <pc:docMk/>
            <pc:sldMk cId="2818008795" sldId="2147483642"/>
            <ac:spMk id="64" creationId="{171978EE-EDEE-FDF4-4A52-B8A5D9641D05}"/>
          </ac:spMkLst>
        </pc:spChg>
        <pc:spChg chg="mod">
          <ac:chgData name="Jan Cordtz" userId="b5e592fb-fc8b-4323-a97d-691438b2e2da" providerId="ADAL" clId="{4E22EDF5-2883-5D57-B9C7-04E66950367B}" dt="2026-01-13T07:51:30.162" v="1036" actId="207"/>
          <ac:spMkLst>
            <pc:docMk/>
            <pc:sldMk cId="2818008795" sldId="2147483642"/>
            <ac:spMk id="65" creationId="{9FA8A913-805C-3BB8-C45F-FAC6FF922C95}"/>
          </ac:spMkLst>
        </pc:spChg>
        <pc:spChg chg="mod">
          <ac:chgData name="Jan Cordtz" userId="b5e592fb-fc8b-4323-a97d-691438b2e2da" providerId="ADAL" clId="{4E22EDF5-2883-5D57-B9C7-04E66950367B}" dt="2026-01-13T07:51:30.162" v="1036" actId="207"/>
          <ac:spMkLst>
            <pc:docMk/>
            <pc:sldMk cId="2818008795" sldId="2147483642"/>
            <ac:spMk id="68" creationId="{04C6BE41-14A3-A6BE-7E59-395FED64C17F}"/>
          </ac:spMkLst>
        </pc:spChg>
        <pc:spChg chg="mod">
          <ac:chgData name="Jan Cordtz" userId="b5e592fb-fc8b-4323-a97d-691438b2e2da" providerId="ADAL" clId="{4E22EDF5-2883-5D57-B9C7-04E66950367B}" dt="2026-01-13T07:51:30.162" v="1036" actId="207"/>
          <ac:spMkLst>
            <pc:docMk/>
            <pc:sldMk cId="2818008795" sldId="2147483642"/>
            <ac:spMk id="69" creationId="{41217BCC-C317-1714-E218-D51E63BF839E}"/>
          </ac:spMkLst>
        </pc:spChg>
      </pc:sldChg>
      <pc:sldChg chg="addSp delSp modSp add mod modClrScheme chgLayout">
        <pc:chgData name="Jan Cordtz" userId="b5e592fb-fc8b-4323-a97d-691438b2e2da" providerId="ADAL" clId="{4E22EDF5-2883-5D57-B9C7-04E66950367B}" dt="2026-01-13T07:53:22.255" v="1056" actId="478"/>
        <pc:sldMkLst>
          <pc:docMk/>
          <pc:sldMk cId="3071218742" sldId="2147483643"/>
        </pc:sldMkLst>
        <pc:spChg chg="mod ord">
          <ac:chgData name="Jan Cordtz" userId="b5e592fb-fc8b-4323-a97d-691438b2e2da" providerId="ADAL" clId="{4E22EDF5-2883-5D57-B9C7-04E66950367B}" dt="2026-01-13T07:41:32.436" v="516" actId="14100"/>
          <ac:spMkLst>
            <pc:docMk/>
            <pc:sldMk cId="3071218742" sldId="2147483643"/>
            <ac:spMk id="2" creationId="{933B04B3-A9A3-3E93-8E56-CDFF48622212}"/>
          </ac:spMkLst>
        </pc:spChg>
        <pc:spChg chg="mod">
          <ac:chgData name="Jan Cordtz" userId="b5e592fb-fc8b-4323-a97d-691438b2e2da" providerId="ADAL" clId="{4E22EDF5-2883-5D57-B9C7-04E66950367B}" dt="2026-01-13T07:52:35.289" v="1044" actId="207"/>
          <ac:spMkLst>
            <pc:docMk/>
            <pc:sldMk cId="3071218742" sldId="2147483643"/>
            <ac:spMk id="4" creationId="{A8FCEED9-FC04-2A7F-7187-6F176C620223}"/>
          </ac:spMkLst>
        </pc:spChg>
        <pc:spChg chg="del mod">
          <ac:chgData name="Jan Cordtz" userId="b5e592fb-fc8b-4323-a97d-691438b2e2da" providerId="ADAL" clId="{4E22EDF5-2883-5D57-B9C7-04E66950367B}" dt="2026-01-13T07:53:22.255" v="1056" actId="478"/>
          <ac:spMkLst>
            <pc:docMk/>
            <pc:sldMk cId="3071218742" sldId="2147483643"/>
            <ac:spMk id="6" creationId="{542AD1C4-8BE8-4FB6-8B31-7BCE567F6B9E}"/>
          </ac:spMkLst>
        </pc:spChg>
        <pc:spChg chg="add mod">
          <ac:chgData name="Jan Cordtz" userId="b5e592fb-fc8b-4323-a97d-691438b2e2da" providerId="ADAL" clId="{4E22EDF5-2883-5D57-B9C7-04E66950367B}" dt="2026-01-13T07:53:13.375" v="1055" actId="571"/>
          <ac:spMkLst>
            <pc:docMk/>
            <pc:sldMk cId="3071218742" sldId="2147483643"/>
            <ac:spMk id="11" creationId="{AC5C7E3B-859F-0C39-EC3C-7FAED472BBDB}"/>
          </ac:spMkLst>
        </pc:spChg>
        <pc:graphicFrameChg chg="mod">
          <ac:chgData name="Jan Cordtz" userId="b5e592fb-fc8b-4323-a97d-691438b2e2da" providerId="ADAL" clId="{4E22EDF5-2883-5D57-B9C7-04E66950367B}" dt="2026-01-13T07:52:32.527" v="1043" actId="207"/>
          <ac:graphicFrameMkLst>
            <pc:docMk/>
            <pc:sldMk cId="3071218742" sldId="2147483643"/>
            <ac:graphicFrameMk id="3" creationId="{D42F4F86-7E15-0A04-1237-37876623A0BB}"/>
          </ac:graphicFrameMkLst>
        </pc:graphicFrameChg>
      </pc:sldChg>
      <pc:sldChg chg="add del">
        <pc:chgData name="Jan Cordtz" userId="b5e592fb-fc8b-4323-a97d-691438b2e2da" providerId="ADAL" clId="{4E22EDF5-2883-5D57-B9C7-04E66950367B}" dt="2026-01-13T07:42:19.720" v="519"/>
        <pc:sldMkLst>
          <pc:docMk/>
          <pc:sldMk cId="1504102564" sldId="2147483644"/>
        </pc:sldMkLst>
      </pc:sldChg>
      <pc:sldChg chg="addSp modSp new mod">
        <pc:chgData name="Jan Cordtz" userId="b5e592fb-fc8b-4323-a97d-691438b2e2da" providerId="ADAL" clId="{4E22EDF5-2883-5D57-B9C7-04E66950367B}" dt="2026-01-13T09:08:37.777" v="1399" actId="12"/>
        <pc:sldMkLst>
          <pc:docMk/>
          <pc:sldMk cId="3346694504" sldId="2147483644"/>
        </pc:sldMkLst>
        <pc:spChg chg="add mod">
          <ac:chgData name="Jan Cordtz" userId="b5e592fb-fc8b-4323-a97d-691438b2e2da" providerId="ADAL" clId="{4E22EDF5-2883-5D57-B9C7-04E66950367B}" dt="2026-01-13T09:05:59.524" v="1101" actId="20577"/>
          <ac:spMkLst>
            <pc:docMk/>
            <pc:sldMk cId="3346694504" sldId="2147483644"/>
            <ac:spMk id="2" creationId="{373E329C-06DB-AEF0-EE9C-B8421523F00F}"/>
          </ac:spMkLst>
        </pc:spChg>
        <pc:spChg chg="add mod">
          <ac:chgData name="Jan Cordtz" userId="b5e592fb-fc8b-4323-a97d-691438b2e2da" providerId="ADAL" clId="{4E22EDF5-2883-5D57-B9C7-04E66950367B}" dt="2026-01-13T09:08:37.777" v="1399" actId="12"/>
          <ac:spMkLst>
            <pc:docMk/>
            <pc:sldMk cId="3346694504" sldId="2147483644"/>
            <ac:spMk id="3" creationId="{7D9DAF74-8D9B-2298-7E8F-5CAAD7F010A6}"/>
          </ac:spMkLst>
        </pc:spChg>
      </pc:sldChg>
      <pc:sldChg chg="add del">
        <pc:chgData name="Jan Cordtz" userId="b5e592fb-fc8b-4323-a97d-691438b2e2da" providerId="ADAL" clId="{4E22EDF5-2883-5D57-B9C7-04E66950367B}" dt="2026-01-13T07:42:19.720" v="519"/>
        <pc:sldMkLst>
          <pc:docMk/>
          <pc:sldMk cId="26732230" sldId="2147483645"/>
        </pc:sldMkLst>
      </pc:sldChg>
      <pc:sldChg chg="add del">
        <pc:chgData name="Jan Cordtz" userId="b5e592fb-fc8b-4323-a97d-691438b2e2da" providerId="ADAL" clId="{4E22EDF5-2883-5D57-B9C7-04E66950367B}" dt="2026-01-13T07:42:19.720" v="519"/>
        <pc:sldMkLst>
          <pc:docMk/>
          <pc:sldMk cId="233137537" sldId="2147483646"/>
        </pc:sldMkLst>
      </pc:sldChg>
      <pc:sldChg chg="add del">
        <pc:chgData name="Jan Cordtz" userId="b5e592fb-fc8b-4323-a97d-691438b2e2da" providerId="ADAL" clId="{4E22EDF5-2883-5D57-B9C7-04E66950367B}" dt="2026-01-13T07:42:19.720" v="519"/>
        <pc:sldMkLst>
          <pc:docMk/>
          <pc:sldMk cId="795794202" sldId="214748364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27A538-6F71-4D4B-818A-411A2CD0E284}"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en-US"/>
        </a:p>
      </dgm:t>
    </dgm:pt>
    <dgm:pt modelId="{C1D93866-F779-DC4D-AAEE-38F3637A40CA}">
      <dgm:prSet phldrT="[Text]"/>
      <dgm:spPr>
        <a:solidFill>
          <a:schemeClr val="bg2"/>
        </a:solidFill>
      </dgm:spPr>
      <dgm:t>
        <a:bodyPr/>
        <a:lstStyle/>
        <a:p>
          <a:r>
            <a:rPr lang="en-US" dirty="0"/>
            <a:t>Management</a:t>
          </a:r>
        </a:p>
      </dgm:t>
    </dgm:pt>
    <dgm:pt modelId="{B38AF0BF-42A6-2C46-AA27-0E6AAF9120A1}" type="parTrans" cxnId="{D4EFDE9B-BCA1-D248-97BE-98785A7CF56B}">
      <dgm:prSet/>
      <dgm:spPr/>
      <dgm:t>
        <a:bodyPr/>
        <a:lstStyle/>
        <a:p>
          <a:endParaRPr lang="en-US"/>
        </a:p>
      </dgm:t>
    </dgm:pt>
    <dgm:pt modelId="{99C45072-459A-2F40-9DFF-223073A5DFC1}" type="sibTrans" cxnId="{D4EFDE9B-BCA1-D248-97BE-98785A7CF56B}">
      <dgm:prSet/>
      <dgm:spPr/>
      <dgm:t>
        <a:bodyPr/>
        <a:lstStyle/>
        <a:p>
          <a:endParaRPr lang="en-US"/>
        </a:p>
      </dgm:t>
    </dgm:pt>
    <dgm:pt modelId="{64FAEC8F-6A5B-5449-A6CF-2FCCDC47D020}" type="asst">
      <dgm:prSet phldrT="[Text]"/>
      <dgm:spPr>
        <a:solidFill>
          <a:schemeClr val="bg2"/>
        </a:solidFill>
      </dgm:spPr>
      <dgm:t>
        <a:bodyPr/>
        <a:lstStyle/>
        <a:p>
          <a:r>
            <a:rPr lang="en-US" dirty="0"/>
            <a:t>Governance office</a:t>
          </a:r>
        </a:p>
      </dgm:t>
    </dgm:pt>
    <dgm:pt modelId="{147CA56B-3BC8-2448-AACE-9078CD5533D3}" type="parTrans" cxnId="{DE402DAB-BFF1-504B-AA70-54EDA912F49E}">
      <dgm:prSet/>
      <dgm:spPr/>
      <dgm:t>
        <a:bodyPr/>
        <a:lstStyle/>
        <a:p>
          <a:endParaRPr lang="en-US"/>
        </a:p>
      </dgm:t>
    </dgm:pt>
    <dgm:pt modelId="{186E7734-BB45-5C44-A1FD-7E4B78E5C8F3}" type="sibTrans" cxnId="{DE402DAB-BFF1-504B-AA70-54EDA912F49E}">
      <dgm:prSet/>
      <dgm:spPr/>
      <dgm:t>
        <a:bodyPr/>
        <a:lstStyle/>
        <a:p>
          <a:endParaRPr lang="en-US"/>
        </a:p>
      </dgm:t>
    </dgm:pt>
    <dgm:pt modelId="{7FBB2D84-99DD-EF42-B669-38C56ED34B3A}">
      <dgm:prSet phldrT="[Text]"/>
      <dgm:spPr>
        <a:solidFill>
          <a:schemeClr val="bg2"/>
        </a:solidFill>
      </dgm:spPr>
      <dgm:t>
        <a:bodyPr/>
        <a:lstStyle/>
        <a:p>
          <a:r>
            <a:rPr lang="en-US" dirty="0"/>
            <a:t>It Security</a:t>
          </a:r>
        </a:p>
      </dgm:t>
    </dgm:pt>
    <dgm:pt modelId="{FDA50C2C-7AAB-D64C-8321-97ABBF250CCD}" type="parTrans" cxnId="{AEF4E2B5-F1BA-4445-9FF0-A757EA64CA17}">
      <dgm:prSet/>
      <dgm:spPr/>
      <dgm:t>
        <a:bodyPr/>
        <a:lstStyle/>
        <a:p>
          <a:endParaRPr lang="en-US"/>
        </a:p>
      </dgm:t>
    </dgm:pt>
    <dgm:pt modelId="{EAD06A7A-DE2E-C941-8992-6CF2059A2AC7}" type="sibTrans" cxnId="{AEF4E2B5-F1BA-4445-9FF0-A757EA64CA17}">
      <dgm:prSet/>
      <dgm:spPr/>
      <dgm:t>
        <a:bodyPr/>
        <a:lstStyle/>
        <a:p>
          <a:endParaRPr lang="en-US"/>
        </a:p>
      </dgm:t>
    </dgm:pt>
    <dgm:pt modelId="{186403E7-E5E3-9340-AF5C-0C5AA8FF7652}">
      <dgm:prSet phldrT="[Text]"/>
      <dgm:spPr>
        <a:solidFill>
          <a:schemeClr val="bg2"/>
        </a:solidFill>
      </dgm:spPr>
      <dgm:t>
        <a:bodyPr/>
        <a:lstStyle/>
        <a:p>
          <a:r>
            <a:rPr lang="en-US" dirty="0"/>
            <a:t>Business Unit </a:t>
          </a:r>
        </a:p>
      </dgm:t>
    </dgm:pt>
    <dgm:pt modelId="{15913AD7-1E59-0246-B656-53E1E14583A9}" type="parTrans" cxnId="{28C22857-5604-F647-9B32-65EFEA97058D}">
      <dgm:prSet/>
      <dgm:spPr/>
      <dgm:t>
        <a:bodyPr/>
        <a:lstStyle/>
        <a:p>
          <a:endParaRPr lang="en-US"/>
        </a:p>
      </dgm:t>
    </dgm:pt>
    <dgm:pt modelId="{6BE6A190-B956-8F48-BEAD-1B0C4A569CD3}" type="sibTrans" cxnId="{28C22857-5604-F647-9B32-65EFEA97058D}">
      <dgm:prSet/>
      <dgm:spPr/>
      <dgm:t>
        <a:bodyPr/>
        <a:lstStyle/>
        <a:p>
          <a:endParaRPr lang="en-US"/>
        </a:p>
      </dgm:t>
    </dgm:pt>
    <dgm:pt modelId="{E4B927E6-75A6-4C43-850A-A5FF9C99F5E4}">
      <dgm:prSet phldrT="[Text]"/>
      <dgm:spPr>
        <a:solidFill>
          <a:schemeClr val="bg2"/>
        </a:solidFill>
      </dgm:spPr>
      <dgm:t>
        <a:bodyPr/>
        <a:lstStyle/>
        <a:p>
          <a:r>
            <a:rPr lang="en-US" dirty="0"/>
            <a:t>Business Unit</a:t>
          </a:r>
        </a:p>
      </dgm:t>
    </dgm:pt>
    <dgm:pt modelId="{958F3E79-C6EF-1746-84D7-78E40BCD17A4}" type="parTrans" cxnId="{08AA746B-D700-9346-9855-DF3413AE9E06}">
      <dgm:prSet/>
      <dgm:spPr/>
      <dgm:t>
        <a:bodyPr/>
        <a:lstStyle/>
        <a:p>
          <a:endParaRPr lang="en-US"/>
        </a:p>
      </dgm:t>
    </dgm:pt>
    <dgm:pt modelId="{5DF82853-CB92-0843-A9E5-509D8BFFFC7F}" type="sibTrans" cxnId="{08AA746B-D700-9346-9855-DF3413AE9E06}">
      <dgm:prSet/>
      <dgm:spPr/>
      <dgm:t>
        <a:bodyPr/>
        <a:lstStyle/>
        <a:p>
          <a:endParaRPr lang="en-US"/>
        </a:p>
      </dgm:t>
    </dgm:pt>
    <dgm:pt modelId="{DD4D9707-A772-4447-8F07-D00BC605220C}">
      <dgm:prSet/>
      <dgm:spPr>
        <a:solidFill>
          <a:schemeClr val="bg2"/>
        </a:solidFill>
      </dgm:spPr>
      <dgm:t>
        <a:bodyPr/>
        <a:lstStyle/>
        <a:p>
          <a:r>
            <a:rPr lang="en-US" dirty="0"/>
            <a:t>Auditor</a:t>
          </a:r>
        </a:p>
      </dgm:t>
    </dgm:pt>
    <dgm:pt modelId="{CF7FC92A-6E00-4F47-98E2-0D8D995846F6}" type="parTrans" cxnId="{992FA2C4-64F4-7140-9646-8A539F43F995}">
      <dgm:prSet/>
      <dgm:spPr/>
      <dgm:t>
        <a:bodyPr/>
        <a:lstStyle/>
        <a:p>
          <a:endParaRPr lang="en-US"/>
        </a:p>
      </dgm:t>
    </dgm:pt>
    <dgm:pt modelId="{57E22655-4849-A142-8FD9-4EF22F11D004}" type="sibTrans" cxnId="{992FA2C4-64F4-7140-9646-8A539F43F995}">
      <dgm:prSet/>
      <dgm:spPr/>
      <dgm:t>
        <a:bodyPr/>
        <a:lstStyle/>
        <a:p>
          <a:endParaRPr lang="en-US"/>
        </a:p>
      </dgm:t>
    </dgm:pt>
    <dgm:pt modelId="{D8EA4402-551B-EF4D-8367-09BFC4437799}" type="pres">
      <dgm:prSet presAssocID="{7D27A538-6F71-4D4B-818A-411A2CD0E284}" presName="hierChild1" presStyleCnt="0">
        <dgm:presLayoutVars>
          <dgm:orgChart val="1"/>
          <dgm:chPref val="1"/>
          <dgm:dir/>
          <dgm:animOne val="branch"/>
          <dgm:animLvl val="lvl"/>
          <dgm:resizeHandles/>
        </dgm:presLayoutVars>
      </dgm:prSet>
      <dgm:spPr/>
    </dgm:pt>
    <dgm:pt modelId="{6BF1649F-FA16-D54C-BAE2-3F5B1DE50099}" type="pres">
      <dgm:prSet presAssocID="{C1D93866-F779-DC4D-AAEE-38F3637A40CA}" presName="hierRoot1" presStyleCnt="0">
        <dgm:presLayoutVars>
          <dgm:hierBranch val="init"/>
        </dgm:presLayoutVars>
      </dgm:prSet>
      <dgm:spPr/>
    </dgm:pt>
    <dgm:pt modelId="{0A0FE965-0EF6-2749-9979-A97D4657DBA0}" type="pres">
      <dgm:prSet presAssocID="{C1D93866-F779-DC4D-AAEE-38F3637A40CA}" presName="rootComposite1" presStyleCnt="0"/>
      <dgm:spPr/>
    </dgm:pt>
    <dgm:pt modelId="{CA422603-16D6-E64C-9B0E-3755F2E97B5D}" type="pres">
      <dgm:prSet presAssocID="{C1D93866-F779-DC4D-AAEE-38F3637A40CA}" presName="rootText1" presStyleLbl="node0" presStyleIdx="0" presStyleCnt="1">
        <dgm:presLayoutVars>
          <dgm:chPref val="3"/>
        </dgm:presLayoutVars>
      </dgm:prSet>
      <dgm:spPr/>
    </dgm:pt>
    <dgm:pt modelId="{83E28B61-52F7-0D43-9ABF-E6E35A860113}" type="pres">
      <dgm:prSet presAssocID="{C1D93866-F779-DC4D-AAEE-38F3637A40CA}" presName="rootConnector1" presStyleLbl="node1" presStyleIdx="0" presStyleCnt="0"/>
      <dgm:spPr/>
    </dgm:pt>
    <dgm:pt modelId="{A0968E6A-B546-7A45-B590-CD08D7AA67E4}" type="pres">
      <dgm:prSet presAssocID="{C1D93866-F779-DC4D-AAEE-38F3637A40CA}" presName="hierChild2" presStyleCnt="0"/>
      <dgm:spPr/>
    </dgm:pt>
    <dgm:pt modelId="{E34546B7-E5EC-1543-AF7D-F26C99B9B109}" type="pres">
      <dgm:prSet presAssocID="{CF7FC92A-6E00-4F47-98E2-0D8D995846F6}" presName="Name37" presStyleLbl="parChTrans1D2" presStyleIdx="0" presStyleCnt="5"/>
      <dgm:spPr/>
    </dgm:pt>
    <dgm:pt modelId="{03ADDD64-3DA7-E748-B7B8-1313B4C7FD92}" type="pres">
      <dgm:prSet presAssocID="{DD4D9707-A772-4447-8F07-D00BC605220C}" presName="hierRoot2" presStyleCnt="0">
        <dgm:presLayoutVars>
          <dgm:hierBranch val="init"/>
        </dgm:presLayoutVars>
      </dgm:prSet>
      <dgm:spPr/>
    </dgm:pt>
    <dgm:pt modelId="{A882BDE9-0AD5-A24F-B1FA-DCD03DD5048A}" type="pres">
      <dgm:prSet presAssocID="{DD4D9707-A772-4447-8F07-D00BC605220C}" presName="rootComposite" presStyleCnt="0"/>
      <dgm:spPr/>
    </dgm:pt>
    <dgm:pt modelId="{D592FF56-9BE7-7144-A8CA-DB48D7F0E395}" type="pres">
      <dgm:prSet presAssocID="{DD4D9707-A772-4447-8F07-D00BC605220C}" presName="rootText" presStyleLbl="node2" presStyleIdx="0" presStyleCnt="4">
        <dgm:presLayoutVars>
          <dgm:chPref val="3"/>
        </dgm:presLayoutVars>
      </dgm:prSet>
      <dgm:spPr/>
    </dgm:pt>
    <dgm:pt modelId="{26234D0E-1CBD-F74D-8C38-7456C4AD2B73}" type="pres">
      <dgm:prSet presAssocID="{DD4D9707-A772-4447-8F07-D00BC605220C}" presName="rootConnector" presStyleLbl="node2" presStyleIdx="0" presStyleCnt="4"/>
      <dgm:spPr/>
    </dgm:pt>
    <dgm:pt modelId="{AE0892A8-64A8-124B-942E-1732F625DB93}" type="pres">
      <dgm:prSet presAssocID="{DD4D9707-A772-4447-8F07-D00BC605220C}" presName="hierChild4" presStyleCnt="0"/>
      <dgm:spPr/>
    </dgm:pt>
    <dgm:pt modelId="{9B04BC56-F263-1944-8AE9-625BA582E9D6}" type="pres">
      <dgm:prSet presAssocID="{DD4D9707-A772-4447-8F07-D00BC605220C}" presName="hierChild5" presStyleCnt="0"/>
      <dgm:spPr/>
    </dgm:pt>
    <dgm:pt modelId="{9FF9AD55-7AA5-984D-BE31-744DAB35098D}" type="pres">
      <dgm:prSet presAssocID="{FDA50C2C-7AAB-D64C-8321-97ABBF250CCD}" presName="Name37" presStyleLbl="parChTrans1D2" presStyleIdx="1" presStyleCnt="5"/>
      <dgm:spPr/>
    </dgm:pt>
    <dgm:pt modelId="{882B9632-7BD2-7942-B967-AA37183D803F}" type="pres">
      <dgm:prSet presAssocID="{7FBB2D84-99DD-EF42-B669-38C56ED34B3A}" presName="hierRoot2" presStyleCnt="0">
        <dgm:presLayoutVars>
          <dgm:hierBranch val="init"/>
        </dgm:presLayoutVars>
      </dgm:prSet>
      <dgm:spPr/>
    </dgm:pt>
    <dgm:pt modelId="{02AF03E9-F213-754C-9188-FC525C02C077}" type="pres">
      <dgm:prSet presAssocID="{7FBB2D84-99DD-EF42-B669-38C56ED34B3A}" presName="rootComposite" presStyleCnt="0"/>
      <dgm:spPr/>
    </dgm:pt>
    <dgm:pt modelId="{4B91E9E3-02F5-664E-8F32-F12BF0DE7762}" type="pres">
      <dgm:prSet presAssocID="{7FBB2D84-99DD-EF42-B669-38C56ED34B3A}" presName="rootText" presStyleLbl="node2" presStyleIdx="1" presStyleCnt="4">
        <dgm:presLayoutVars>
          <dgm:chPref val="3"/>
        </dgm:presLayoutVars>
      </dgm:prSet>
      <dgm:spPr/>
    </dgm:pt>
    <dgm:pt modelId="{06C9CAC5-4EBC-AD42-B5C9-996853A47B45}" type="pres">
      <dgm:prSet presAssocID="{7FBB2D84-99DD-EF42-B669-38C56ED34B3A}" presName="rootConnector" presStyleLbl="node2" presStyleIdx="1" presStyleCnt="4"/>
      <dgm:spPr/>
    </dgm:pt>
    <dgm:pt modelId="{81597B12-79A3-7C48-A1AC-90C63479351D}" type="pres">
      <dgm:prSet presAssocID="{7FBB2D84-99DD-EF42-B669-38C56ED34B3A}" presName="hierChild4" presStyleCnt="0"/>
      <dgm:spPr/>
    </dgm:pt>
    <dgm:pt modelId="{C9585D1B-0642-D840-85E0-C41B6002FF07}" type="pres">
      <dgm:prSet presAssocID="{7FBB2D84-99DD-EF42-B669-38C56ED34B3A}" presName="hierChild5" presStyleCnt="0"/>
      <dgm:spPr/>
    </dgm:pt>
    <dgm:pt modelId="{EA0C57B6-9F94-1B4F-93A7-2E1211AB7269}" type="pres">
      <dgm:prSet presAssocID="{15913AD7-1E59-0246-B656-53E1E14583A9}" presName="Name37" presStyleLbl="parChTrans1D2" presStyleIdx="2" presStyleCnt="5"/>
      <dgm:spPr/>
    </dgm:pt>
    <dgm:pt modelId="{8586AB45-0F69-1C49-AF73-ADBBFC0BB403}" type="pres">
      <dgm:prSet presAssocID="{186403E7-E5E3-9340-AF5C-0C5AA8FF7652}" presName="hierRoot2" presStyleCnt="0">
        <dgm:presLayoutVars>
          <dgm:hierBranch val="init"/>
        </dgm:presLayoutVars>
      </dgm:prSet>
      <dgm:spPr/>
    </dgm:pt>
    <dgm:pt modelId="{7C2849DB-A7BC-9E45-8A59-69FF73AE8AF4}" type="pres">
      <dgm:prSet presAssocID="{186403E7-E5E3-9340-AF5C-0C5AA8FF7652}" presName="rootComposite" presStyleCnt="0"/>
      <dgm:spPr/>
    </dgm:pt>
    <dgm:pt modelId="{417EC1D6-BA70-3844-B1D4-160F9F3DDBA0}" type="pres">
      <dgm:prSet presAssocID="{186403E7-E5E3-9340-AF5C-0C5AA8FF7652}" presName="rootText" presStyleLbl="node2" presStyleIdx="2" presStyleCnt="4">
        <dgm:presLayoutVars>
          <dgm:chPref val="3"/>
        </dgm:presLayoutVars>
      </dgm:prSet>
      <dgm:spPr/>
    </dgm:pt>
    <dgm:pt modelId="{26A3BD76-89F4-C344-9AFF-31FE5535B56E}" type="pres">
      <dgm:prSet presAssocID="{186403E7-E5E3-9340-AF5C-0C5AA8FF7652}" presName="rootConnector" presStyleLbl="node2" presStyleIdx="2" presStyleCnt="4"/>
      <dgm:spPr/>
    </dgm:pt>
    <dgm:pt modelId="{B88448A7-AC8F-C04A-B5ED-275DC840C9B9}" type="pres">
      <dgm:prSet presAssocID="{186403E7-E5E3-9340-AF5C-0C5AA8FF7652}" presName="hierChild4" presStyleCnt="0"/>
      <dgm:spPr/>
    </dgm:pt>
    <dgm:pt modelId="{8DEAC040-6E6A-2A48-AB80-FE05275D82B3}" type="pres">
      <dgm:prSet presAssocID="{186403E7-E5E3-9340-AF5C-0C5AA8FF7652}" presName="hierChild5" presStyleCnt="0"/>
      <dgm:spPr/>
    </dgm:pt>
    <dgm:pt modelId="{5C09E577-A368-0244-AA20-BFDC35ED1556}" type="pres">
      <dgm:prSet presAssocID="{958F3E79-C6EF-1746-84D7-78E40BCD17A4}" presName="Name37" presStyleLbl="parChTrans1D2" presStyleIdx="3" presStyleCnt="5"/>
      <dgm:spPr/>
    </dgm:pt>
    <dgm:pt modelId="{4716BE53-A595-5948-AC08-45E46EA13AFC}" type="pres">
      <dgm:prSet presAssocID="{E4B927E6-75A6-4C43-850A-A5FF9C99F5E4}" presName="hierRoot2" presStyleCnt="0">
        <dgm:presLayoutVars>
          <dgm:hierBranch val="init"/>
        </dgm:presLayoutVars>
      </dgm:prSet>
      <dgm:spPr/>
    </dgm:pt>
    <dgm:pt modelId="{9BD2F1C7-1B2F-CC4B-8DDB-8583F9215004}" type="pres">
      <dgm:prSet presAssocID="{E4B927E6-75A6-4C43-850A-A5FF9C99F5E4}" presName="rootComposite" presStyleCnt="0"/>
      <dgm:spPr/>
    </dgm:pt>
    <dgm:pt modelId="{28512FDE-FB21-684F-A2C1-6A04C93939CB}" type="pres">
      <dgm:prSet presAssocID="{E4B927E6-75A6-4C43-850A-A5FF9C99F5E4}" presName="rootText" presStyleLbl="node2" presStyleIdx="3" presStyleCnt="4">
        <dgm:presLayoutVars>
          <dgm:chPref val="3"/>
        </dgm:presLayoutVars>
      </dgm:prSet>
      <dgm:spPr/>
    </dgm:pt>
    <dgm:pt modelId="{D9E213F8-9CF6-9644-B23A-1A7813888A1D}" type="pres">
      <dgm:prSet presAssocID="{E4B927E6-75A6-4C43-850A-A5FF9C99F5E4}" presName="rootConnector" presStyleLbl="node2" presStyleIdx="3" presStyleCnt="4"/>
      <dgm:spPr/>
    </dgm:pt>
    <dgm:pt modelId="{610A08C4-741B-324F-A9F2-122D9FB5C849}" type="pres">
      <dgm:prSet presAssocID="{E4B927E6-75A6-4C43-850A-A5FF9C99F5E4}" presName="hierChild4" presStyleCnt="0"/>
      <dgm:spPr/>
    </dgm:pt>
    <dgm:pt modelId="{FB8B7CDB-8135-CC41-A544-5E1491C6F246}" type="pres">
      <dgm:prSet presAssocID="{E4B927E6-75A6-4C43-850A-A5FF9C99F5E4}" presName="hierChild5" presStyleCnt="0"/>
      <dgm:spPr/>
    </dgm:pt>
    <dgm:pt modelId="{5A02F426-45C8-954C-A827-D130A228D95B}" type="pres">
      <dgm:prSet presAssocID="{C1D93866-F779-DC4D-AAEE-38F3637A40CA}" presName="hierChild3" presStyleCnt="0"/>
      <dgm:spPr/>
    </dgm:pt>
    <dgm:pt modelId="{FA2DE68D-B505-254F-8BBD-069A0B3FC43F}" type="pres">
      <dgm:prSet presAssocID="{147CA56B-3BC8-2448-AACE-9078CD5533D3}" presName="Name111" presStyleLbl="parChTrans1D2" presStyleIdx="4" presStyleCnt="5"/>
      <dgm:spPr/>
    </dgm:pt>
    <dgm:pt modelId="{B735DF13-79A8-0F4A-AAEC-8A5D8170FF37}" type="pres">
      <dgm:prSet presAssocID="{64FAEC8F-6A5B-5449-A6CF-2FCCDC47D020}" presName="hierRoot3" presStyleCnt="0">
        <dgm:presLayoutVars>
          <dgm:hierBranch val="init"/>
        </dgm:presLayoutVars>
      </dgm:prSet>
      <dgm:spPr/>
    </dgm:pt>
    <dgm:pt modelId="{C592CC94-61C7-1244-BE88-B9389892BB05}" type="pres">
      <dgm:prSet presAssocID="{64FAEC8F-6A5B-5449-A6CF-2FCCDC47D020}" presName="rootComposite3" presStyleCnt="0"/>
      <dgm:spPr/>
    </dgm:pt>
    <dgm:pt modelId="{0DE19FD8-6121-B644-8E96-A8D0C5F43390}" type="pres">
      <dgm:prSet presAssocID="{64FAEC8F-6A5B-5449-A6CF-2FCCDC47D020}" presName="rootText3" presStyleLbl="asst1" presStyleIdx="0" presStyleCnt="1">
        <dgm:presLayoutVars>
          <dgm:chPref val="3"/>
        </dgm:presLayoutVars>
      </dgm:prSet>
      <dgm:spPr/>
    </dgm:pt>
    <dgm:pt modelId="{ABBB6301-F4A5-8443-B91F-7C58848FE85D}" type="pres">
      <dgm:prSet presAssocID="{64FAEC8F-6A5B-5449-A6CF-2FCCDC47D020}" presName="rootConnector3" presStyleLbl="asst1" presStyleIdx="0" presStyleCnt="1"/>
      <dgm:spPr/>
    </dgm:pt>
    <dgm:pt modelId="{C1F92B3B-D0C3-2149-8382-494C1829425D}" type="pres">
      <dgm:prSet presAssocID="{64FAEC8F-6A5B-5449-A6CF-2FCCDC47D020}" presName="hierChild6" presStyleCnt="0"/>
      <dgm:spPr/>
    </dgm:pt>
    <dgm:pt modelId="{C8458093-73AF-1640-8973-D569607579B4}" type="pres">
      <dgm:prSet presAssocID="{64FAEC8F-6A5B-5449-A6CF-2FCCDC47D020}" presName="hierChild7" presStyleCnt="0"/>
      <dgm:spPr/>
    </dgm:pt>
  </dgm:ptLst>
  <dgm:cxnLst>
    <dgm:cxn modelId="{D05A4B29-678A-6D48-B377-A9B359060FCA}" type="presOf" srcId="{64FAEC8F-6A5B-5449-A6CF-2FCCDC47D020}" destId="{ABBB6301-F4A5-8443-B91F-7C58848FE85D}" srcOrd="1" destOrd="0" presId="urn:microsoft.com/office/officeart/2005/8/layout/orgChart1"/>
    <dgm:cxn modelId="{F6CF643E-EEAD-5148-ACE7-9DB74B92D668}" type="presOf" srcId="{CF7FC92A-6E00-4F47-98E2-0D8D995846F6}" destId="{E34546B7-E5EC-1543-AF7D-F26C99B9B109}" srcOrd="0" destOrd="0" presId="urn:microsoft.com/office/officeart/2005/8/layout/orgChart1"/>
    <dgm:cxn modelId="{28C22857-5604-F647-9B32-65EFEA97058D}" srcId="{C1D93866-F779-DC4D-AAEE-38F3637A40CA}" destId="{186403E7-E5E3-9340-AF5C-0C5AA8FF7652}" srcOrd="3" destOrd="0" parTransId="{15913AD7-1E59-0246-B656-53E1E14583A9}" sibTransId="{6BE6A190-B956-8F48-BEAD-1B0C4A569CD3}"/>
    <dgm:cxn modelId="{5A51735F-C461-144D-8071-9906D22C42D2}" type="presOf" srcId="{FDA50C2C-7AAB-D64C-8321-97ABBF250CCD}" destId="{9FF9AD55-7AA5-984D-BE31-744DAB35098D}" srcOrd="0" destOrd="0" presId="urn:microsoft.com/office/officeart/2005/8/layout/orgChart1"/>
    <dgm:cxn modelId="{50D9536A-9D47-C341-9105-6A08AACD251D}" type="presOf" srcId="{7FBB2D84-99DD-EF42-B669-38C56ED34B3A}" destId="{4B91E9E3-02F5-664E-8F32-F12BF0DE7762}" srcOrd="0" destOrd="0" presId="urn:microsoft.com/office/officeart/2005/8/layout/orgChart1"/>
    <dgm:cxn modelId="{6A13656A-FAEC-A04B-BE91-E0847AAE379F}" type="presOf" srcId="{C1D93866-F779-DC4D-AAEE-38F3637A40CA}" destId="{CA422603-16D6-E64C-9B0E-3755F2E97B5D}" srcOrd="0" destOrd="0" presId="urn:microsoft.com/office/officeart/2005/8/layout/orgChart1"/>
    <dgm:cxn modelId="{08AA746B-D700-9346-9855-DF3413AE9E06}" srcId="{C1D93866-F779-DC4D-AAEE-38F3637A40CA}" destId="{E4B927E6-75A6-4C43-850A-A5FF9C99F5E4}" srcOrd="4" destOrd="0" parTransId="{958F3E79-C6EF-1746-84D7-78E40BCD17A4}" sibTransId="{5DF82853-CB92-0843-A9E5-509D8BFFFC7F}"/>
    <dgm:cxn modelId="{84DF387C-ECFF-C145-BE3A-0C0A3CA94AE5}" type="presOf" srcId="{DD4D9707-A772-4447-8F07-D00BC605220C}" destId="{26234D0E-1CBD-F74D-8C38-7456C4AD2B73}" srcOrd="1" destOrd="0" presId="urn:microsoft.com/office/officeart/2005/8/layout/orgChart1"/>
    <dgm:cxn modelId="{02BA9F80-A94A-1C4C-BF6E-25CBEDAA381C}" type="presOf" srcId="{DD4D9707-A772-4447-8F07-D00BC605220C}" destId="{D592FF56-9BE7-7144-A8CA-DB48D7F0E395}" srcOrd="0" destOrd="0" presId="urn:microsoft.com/office/officeart/2005/8/layout/orgChart1"/>
    <dgm:cxn modelId="{D4EFDE9B-BCA1-D248-97BE-98785A7CF56B}" srcId="{7D27A538-6F71-4D4B-818A-411A2CD0E284}" destId="{C1D93866-F779-DC4D-AAEE-38F3637A40CA}" srcOrd="0" destOrd="0" parTransId="{B38AF0BF-42A6-2C46-AA27-0E6AAF9120A1}" sibTransId="{99C45072-459A-2F40-9DFF-223073A5DFC1}"/>
    <dgm:cxn modelId="{6047B3AA-36D3-B84B-AD23-DCECF370D725}" type="presOf" srcId="{186403E7-E5E3-9340-AF5C-0C5AA8FF7652}" destId="{26A3BD76-89F4-C344-9AFF-31FE5535B56E}" srcOrd="1" destOrd="0" presId="urn:microsoft.com/office/officeart/2005/8/layout/orgChart1"/>
    <dgm:cxn modelId="{DE402DAB-BFF1-504B-AA70-54EDA912F49E}" srcId="{C1D93866-F779-DC4D-AAEE-38F3637A40CA}" destId="{64FAEC8F-6A5B-5449-A6CF-2FCCDC47D020}" srcOrd="0" destOrd="0" parTransId="{147CA56B-3BC8-2448-AACE-9078CD5533D3}" sibTransId="{186E7734-BB45-5C44-A1FD-7E4B78E5C8F3}"/>
    <dgm:cxn modelId="{7A9B3AB3-8DC6-B945-9BC7-3FB2ECEC14BB}" type="presOf" srcId="{E4B927E6-75A6-4C43-850A-A5FF9C99F5E4}" destId="{D9E213F8-9CF6-9644-B23A-1A7813888A1D}" srcOrd="1" destOrd="0" presId="urn:microsoft.com/office/officeart/2005/8/layout/orgChart1"/>
    <dgm:cxn modelId="{AEF4E2B5-F1BA-4445-9FF0-A757EA64CA17}" srcId="{C1D93866-F779-DC4D-AAEE-38F3637A40CA}" destId="{7FBB2D84-99DD-EF42-B669-38C56ED34B3A}" srcOrd="2" destOrd="0" parTransId="{FDA50C2C-7AAB-D64C-8321-97ABBF250CCD}" sibTransId="{EAD06A7A-DE2E-C941-8992-6CF2059A2AC7}"/>
    <dgm:cxn modelId="{72807DBF-1B29-804A-8527-E66DFDF81D4F}" type="presOf" srcId="{186403E7-E5E3-9340-AF5C-0C5AA8FF7652}" destId="{417EC1D6-BA70-3844-B1D4-160F9F3DDBA0}" srcOrd="0" destOrd="0" presId="urn:microsoft.com/office/officeart/2005/8/layout/orgChart1"/>
    <dgm:cxn modelId="{992FA2C4-64F4-7140-9646-8A539F43F995}" srcId="{C1D93866-F779-DC4D-AAEE-38F3637A40CA}" destId="{DD4D9707-A772-4447-8F07-D00BC605220C}" srcOrd="1" destOrd="0" parTransId="{CF7FC92A-6E00-4F47-98E2-0D8D995846F6}" sibTransId="{57E22655-4849-A142-8FD9-4EF22F11D004}"/>
    <dgm:cxn modelId="{BF3530C5-A3E4-354F-A56C-C4311E301A86}" type="presOf" srcId="{C1D93866-F779-DC4D-AAEE-38F3637A40CA}" destId="{83E28B61-52F7-0D43-9ABF-E6E35A860113}" srcOrd="1" destOrd="0" presId="urn:microsoft.com/office/officeart/2005/8/layout/orgChart1"/>
    <dgm:cxn modelId="{8A08C4CA-8FCE-3745-BC7E-0E1439A2ABBF}" type="presOf" srcId="{7D27A538-6F71-4D4B-818A-411A2CD0E284}" destId="{D8EA4402-551B-EF4D-8367-09BFC4437799}" srcOrd="0" destOrd="0" presId="urn:microsoft.com/office/officeart/2005/8/layout/orgChart1"/>
    <dgm:cxn modelId="{A3621ECF-378E-D249-8208-7D9463B2B4DA}" type="presOf" srcId="{64FAEC8F-6A5B-5449-A6CF-2FCCDC47D020}" destId="{0DE19FD8-6121-B644-8E96-A8D0C5F43390}" srcOrd="0" destOrd="0" presId="urn:microsoft.com/office/officeart/2005/8/layout/orgChart1"/>
    <dgm:cxn modelId="{71B2D2E4-B727-FA46-96B3-C85C6167FDDB}" type="presOf" srcId="{E4B927E6-75A6-4C43-850A-A5FF9C99F5E4}" destId="{28512FDE-FB21-684F-A2C1-6A04C93939CB}" srcOrd="0" destOrd="0" presId="urn:microsoft.com/office/officeart/2005/8/layout/orgChart1"/>
    <dgm:cxn modelId="{63158AEE-7DCB-7940-B231-F0C0E651C5E9}" type="presOf" srcId="{958F3E79-C6EF-1746-84D7-78E40BCD17A4}" destId="{5C09E577-A368-0244-AA20-BFDC35ED1556}" srcOrd="0" destOrd="0" presId="urn:microsoft.com/office/officeart/2005/8/layout/orgChart1"/>
    <dgm:cxn modelId="{DD3504F3-864B-EA47-A62D-F7E1F7CB1393}" type="presOf" srcId="{147CA56B-3BC8-2448-AACE-9078CD5533D3}" destId="{FA2DE68D-B505-254F-8BBD-069A0B3FC43F}" srcOrd="0" destOrd="0" presId="urn:microsoft.com/office/officeart/2005/8/layout/orgChart1"/>
    <dgm:cxn modelId="{1AD8ECF4-5704-5548-BD93-6E27390D8F22}" type="presOf" srcId="{15913AD7-1E59-0246-B656-53E1E14583A9}" destId="{EA0C57B6-9F94-1B4F-93A7-2E1211AB7269}" srcOrd="0" destOrd="0" presId="urn:microsoft.com/office/officeart/2005/8/layout/orgChart1"/>
    <dgm:cxn modelId="{04CC11FC-E122-BE40-B91B-C60367E4B47C}" type="presOf" srcId="{7FBB2D84-99DD-EF42-B669-38C56ED34B3A}" destId="{06C9CAC5-4EBC-AD42-B5C9-996853A47B45}" srcOrd="1" destOrd="0" presId="urn:microsoft.com/office/officeart/2005/8/layout/orgChart1"/>
    <dgm:cxn modelId="{91FE26C8-F10D-EF4B-952E-4BED751B722F}" type="presParOf" srcId="{D8EA4402-551B-EF4D-8367-09BFC4437799}" destId="{6BF1649F-FA16-D54C-BAE2-3F5B1DE50099}" srcOrd="0" destOrd="0" presId="urn:microsoft.com/office/officeart/2005/8/layout/orgChart1"/>
    <dgm:cxn modelId="{3B2CE9DD-F311-A54C-AB32-B2C4D6FCC5B5}" type="presParOf" srcId="{6BF1649F-FA16-D54C-BAE2-3F5B1DE50099}" destId="{0A0FE965-0EF6-2749-9979-A97D4657DBA0}" srcOrd="0" destOrd="0" presId="urn:microsoft.com/office/officeart/2005/8/layout/orgChart1"/>
    <dgm:cxn modelId="{520D40B4-4D83-0C48-8FAE-9A16CE083379}" type="presParOf" srcId="{0A0FE965-0EF6-2749-9979-A97D4657DBA0}" destId="{CA422603-16D6-E64C-9B0E-3755F2E97B5D}" srcOrd="0" destOrd="0" presId="urn:microsoft.com/office/officeart/2005/8/layout/orgChart1"/>
    <dgm:cxn modelId="{9E54BD0A-3DAD-614C-AC8C-6B2CDB8BD5AD}" type="presParOf" srcId="{0A0FE965-0EF6-2749-9979-A97D4657DBA0}" destId="{83E28B61-52F7-0D43-9ABF-E6E35A860113}" srcOrd="1" destOrd="0" presId="urn:microsoft.com/office/officeart/2005/8/layout/orgChart1"/>
    <dgm:cxn modelId="{0D1BAB2E-2609-BD48-98C4-BE4F3CC6871A}" type="presParOf" srcId="{6BF1649F-FA16-D54C-BAE2-3F5B1DE50099}" destId="{A0968E6A-B546-7A45-B590-CD08D7AA67E4}" srcOrd="1" destOrd="0" presId="urn:microsoft.com/office/officeart/2005/8/layout/orgChart1"/>
    <dgm:cxn modelId="{41BFF72C-35A4-5F4B-9AB5-C05F299FA891}" type="presParOf" srcId="{A0968E6A-B546-7A45-B590-CD08D7AA67E4}" destId="{E34546B7-E5EC-1543-AF7D-F26C99B9B109}" srcOrd="0" destOrd="0" presId="urn:microsoft.com/office/officeart/2005/8/layout/orgChart1"/>
    <dgm:cxn modelId="{3968F950-4546-144C-AC9C-B67B11A708A7}" type="presParOf" srcId="{A0968E6A-B546-7A45-B590-CD08D7AA67E4}" destId="{03ADDD64-3DA7-E748-B7B8-1313B4C7FD92}" srcOrd="1" destOrd="0" presId="urn:microsoft.com/office/officeart/2005/8/layout/orgChart1"/>
    <dgm:cxn modelId="{D92AF62D-75DA-C341-B1B0-41120997B234}" type="presParOf" srcId="{03ADDD64-3DA7-E748-B7B8-1313B4C7FD92}" destId="{A882BDE9-0AD5-A24F-B1FA-DCD03DD5048A}" srcOrd="0" destOrd="0" presId="urn:microsoft.com/office/officeart/2005/8/layout/orgChart1"/>
    <dgm:cxn modelId="{9A8114B3-CAC5-4142-AD6F-9C09A4DF0F79}" type="presParOf" srcId="{A882BDE9-0AD5-A24F-B1FA-DCD03DD5048A}" destId="{D592FF56-9BE7-7144-A8CA-DB48D7F0E395}" srcOrd="0" destOrd="0" presId="urn:microsoft.com/office/officeart/2005/8/layout/orgChart1"/>
    <dgm:cxn modelId="{928B0857-9FA4-CF47-8AEA-355D4F631E23}" type="presParOf" srcId="{A882BDE9-0AD5-A24F-B1FA-DCD03DD5048A}" destId="{26234D0E-1CBD-F74D-8C38-7456C4AD2B73}" srcOrd="1" destOrd="0" presId="urn:microsoft.com/office/officeart/2005/8/layout/orgChart1"/>
    <dgm:cxn modelId="{4FE68571-12C7-E247-843B-B31F6AB18FD2}" type="presParOf" srcId="{03ADDD64-3DA7-E748-B7B8-1313B4C7FD92}" destId="{AE0892A8-64A8-124B-942E-1732F625DB93}" srcOrd="1" destOrd="0" presId="urn:microsoft.com/office/officeart/2005/8/layout/orgChart1"/>
    <dgm:cxn modelId="{C5B9E79D-45A2-124F-BA81-6971B2DE5400}" type="presParOf" srcId="{03ADDD64-3DA7-E748-B7B8-1313B4C7FD92}" destId="{9B04BC56-F263-1944-8AE9-625BA582E9D6}" srcOrd="2" destOrd="0" presId="urn:microsoft.com/office/officeart/2005/8/layout/orgChart1"/>
    <dgm:cxn modelId="{CE9235D3-2787-8542-B326-C89D0D37449D}" type="presParOf" srcId="{A0968E6A-B546-7A45-B590-CD08D7AA67E4}" destId="{9FF9AD55-7AA5-984D-BE31-744DAB35098D}" srcOrd="2" destOrd="0" presId="urn:microsoft.com/office/officeart/2005/8/layout/orgChart1"/>
    <dgm:cxn modelId="{07048A71-11F3-3A44-B759-5ED80C202CA8}" type="presParOf" srcId="{A0968E6A-B546-7A45-B590-CD08D7AA67E4}" destId="{882B9632-7BD2-7942-B967-AA37183D803F}" srcOrd="3" destOrd="0" presId="urn:microsoft.com/office/officeart/2005/8/layout/orgChart1"/>
    <dgm:cxn modelId="{A2016B7C-FE86-6A40-9C35-3AE6B53E798E}" type="presParOf" srcId="{882B9632-7BD2-7942-B967-AA37183D803F}" destId="{02AF03E9-F213-754C-9188-FC525C02C077}" srcOrd="0" destOrd="0" presId="urn:microsoft.com/office/officeart/2005/8/layout/orgChart1"/>
    <dgm:cxn modelId="{1A4C4BA7-55CD-AC4A-B832-C88539EB562C}" type="presParOf" srcId="{02AF03E9-F213-754C-9188-FC525C02C077}" destId="{4B91E9E3-02F5-664E-8F32-F12BF0DE7762}" srcOrd="0" destOrd="0" presId="urn:microsoft.com/office/officeart/2005/8/layout/orgChart1"/>
    <dgm:cxn modelId="{3599E04D-6299-5C48-9BE2-8E6813CF373A}" type="presParOf" srcId="{02AF03E9-F213-754C-9188-FC525C02C077}" destId="{06C9CAC5-4EBC-AD42-B5C9-996853A47B45}" srcOrd="1" destOrd="0" presId="urn:microsoft.com/office/officeart/2005/8/layout/orgChart1"/>
    <dgm:cxn modelId="{5ACE9B7D-D96E-F344-B1FC-10A7A8B409F7}" type="presParOf" srcId="{882B9632-7BD2-7942-B967-AA37183D803F}" destId="{81597B12-79A3-7C48-A1AC-90C63479351D}" srcOrd="1" destOrd="0" presId="urn:microsoft.com/office/officeart/2005/8/layout/orgChart1"/>
    <dgm:cxn modelId="{7D4D5B53-90A4-0D44-8277-3293C73F9F7B}" type="presParOf" srcId="{882B9632-7BD2-7942-B967-AA37183D803F}" destId="{C9585D1B-0642-D840-85E0-C41B6002FF07}" srcOrd="2" destOrd="0" presId="urn:microsoft.com/office/officeart/2005/8/layout/orgChart1"/>
    <dgm:cxn modelId="{FA2588D1-7F2A-5E47-86D5-1A3CE7BFF3B0}" type="presParOf" srcId="{A0968E6A-B546-7A45-B590-CD08D7AA67E4}" destId="{EA0C57B6-9F94-1B4F-93A7-2E1211AB7269}" srcOrd="4" destOrd="0" presId="urn:microsoft.com/office/officeart/2005/8/layout/orgChart1"/>
    <dgm:cxn modelId="{A04B9973-DAE2-0948-9772-963293769DAE}" type="presParOf" srcId="{A0968E6A-B546-7A45-B590-CD08D7AA67E4}" destId="{8586AB45-0F69-1C49-AF73-ADBBFC0BB403}" srcOrd="5" destOrd="0" presId="urn:microsoft.com/office/officeart/2005/8/layout/orgChart1"/>
    <dgm:cxn modelId="{C05AD225-A362-184E-A8D9-A55635654F54}" type="presParOf" srcId="{8586AB45-0F69-1C49-AF73-ADBBFC0BB403}" destId="{7C2849DB-A7BC-9E45-8A59-69FF73AE8AF4}" srcOrd="0" destOrd="0" presId="urn:microsoft.com/office/officeart/2005/8/layout/orgChart1"/>
    <dgm:cxn modelId="{19DF0591-F0BD-4446-BC61-CF58FBA71709}" type="presParOf" srcId="{7C2849DB-A7BC-9E45-8A59-69FF73AE8AF4}" destId="{417EC1D6-BA70-3844-B1D4-160F9F3DDBA0}" srcOrd="0" destOrd="0" presId="urn:microsoft.com/office/officeart/2005/8/layout/orgChart1"/>
    <dgm:cxn modelId="{F9C25A30-C690-F341-950E-F329B891285D}" type="presParOf" srcId="{7C2849DB-A7BC-9E45-8A59-69FF73AE8AF4}" destId="{26A3BD76-89F4-C344-9AFF-31FE5535B56E}" srcOrd="1" destOrd="0" presId="urn:microsoft.com/office/officeart/2005/8/layout/orgChart1"/>
    <dgm:cxn modelId="{B7E4A66F-4D04-8C4F-827A-B39E3353174D}" type="presParOf" srcId="{8586AB45-0F69-1C49-AF73-ADBBFC0BB403}" destId="{B88448A7-AC8F-C04A-B5ED-275DC840C9B9}" srcOrd="1" destOrd="0" presId="urn:microsoft.com/office/officeart/2005/8/layout/orgChart1"/>
    <dgm:cxn modelId="{C90153C3-9A05-ED47-B2C0-96DA2CF2BE7C}" type="presParOf" srcId="{8586AB45-0F69-1C49-AF73-ADBBFC0BB403}" destId="{8DEAC040-6E6A-2A48-AB80-FE05275D82B3}" srcOrd="2" destOrd="0" presId="urn:microsoft.com/office/officeart/2005/8/layout/orgChart1"/>
    <dgm:cxn modelId="{16EEDFD6-22B0-F644-9A0A-ABF4FD22C098}" type="presParOf" srcId="{A0968E6A-B546-7A45-B590-CD08D7AA67E4}" destId="{5C09E577-A368-0244-AA20-BFDC35ED1556}" srcOrd="6" destOrd="0" presId="urn:microsoft.com/office/officeart/2005/8/layout/orgChart1"/>
    <dgm:cxn modelId="{B9C99D1E-3B88-3246-9BD8-A2193FFE85EE}" type="presParOf" srcId="{A0968E6A-B546-7A45-B590-CD08D7AA67E4}" destId="{4716BE53-A595-5948-AC08-45E46EA13AFC}" srcOrd="7" destOrd="0" presId="urn:microsoft.com/office/officeart/2005/8/layout/orgChart1"/>
    <dgm:cxn modelId="{072F7F6E-0964-7044-A308-00EAC9983DCE}" type="presParOf" srcId="{4716BE53-A595-5948-AC08-45E46EA13AFC}" destId="{9BD2F1C7-1B2F-CC4B-8DDB-8583F9215004}" srcOrd="0" destOrd="0" presId="urn:microsoft.com/office/officeart/2005/8/layout/orgChart1"/>
    <dgm:cxn modelId="{A4CA9464-5BAB-1F4B-8C7F-102A222D0541}" type="presParOf" srcId="{9BD2F1C7-1B2F-CC4B-8DDB-8583F9215004}" destId="{28512FDE-FB21-684F-A2C1-6A04C93939CB}" srcOrd="0" destOrd="0" presId="urn:microsoft.com/office/officeart/2005/8/layout/orgChart1"/>
    <dgm:cxn modelId="{84DE6FCE-9840-DE43-90F1-F90CF97B709F}" type="presParOf" srcId="{9BD2F1C7-1B2F-CC4B-8DDB-8583F9215004}" destId="{D9E213F8-9CF6-9644-B23A-1A7813888A1D}" srcOrd="1" destOrd="0" presId="urn:microsoft.com/office/officeart/2005/8/layout/orgChart1"/>
    <dgm:cxn modelId="{048B0910-F649-1F47-8325-06A4812A544B}" type="presParOf" srcId="{4716BE53-A595-5948-AC08-45E46EA13AFC}" destId="{610A08C4-741B-324F-A9F2-122D9FB5C849}" srcOrd="1" destOrd="0" presId="urn:microsoft.com/office/officeart/2005/8/layout/orgChart1"/>
    <dgm:cxn modelId="{97755339-123B-6440-BA59-026BF172244A}" type="presParOf" srcId="{4716BE53-A595-5948-AC08-45E46EA13AFC}" destId="{FB8B7CDB-8135-CC41-A544-5E1491C6F246}" srcOrd="2" destOrd="0" presId="urn:microsoft.com/office/officeart/2005/8/layout/orgChart1"/>
    <dgm:cxn modelId="{5099043A-5576-5F40-AD00-E62FDA854C04}" type="presParOf" srcId="{6BF1649F-FA16-D54C-BAE2-3F5B1DE50099}" destId="{5A02F426-45C8-954C-A827-D130A228D95B}" srcOrd="2" destOrd="0" presId="urn:microsoft.com/office/officeart/2005/8/layout/orgChart1"/>
    <dgm:cxn modelId="{AAAA1D56-C00C-B347-B4B0-3C10FFE2DB8C}" type="presParOf" srcId="{5A02F426-45C8-954C-A827-D130A228D95B}" destId="{FA2DE68D-B505-254F-8BBD-069A0B3FC43F}" srcOrd="0" destOrd="0" presId="urn:microsoft.com/office/officeart/2005/8/layout/orgChart1"/>
    <dgm:cxn modelId="{D26DF6C4-C61A-8B4C-8E17-5DD014F87B41}" type="presParOf" srcId="{5A02F426-45C8-954C-A827-D130A228D95B}" destId="{B735DF13-79A8-0F4A-AAEC-8A5D8170FF37}" srcOrd="1" destOrd="0" presId="urn:microsoft.com/office/officeart/2005/8/layout/orgChart1"/>
    <dgm:cxn modelId="{B19982D6-E5B6-FA49-B33B-E075D72643E3}" type="presParOf" srcId="{B735DF13-79A8-0F4A-AAEC-8A5D8170FF37}" destId="{C592CC94-61C7-1244-BE88-B9389892BB05}" srcOrd="0" destOrd="0" presId="urn:microsoft.com/office/officeart/2005/8/layout/orgChart1"/>
    <dgm:cxn modelId="{954A77A5-B437-284E-8D24-C62302AFF0ED}" type="presParOf" srcId="{C592CC94-61C7-1244-BE88-B9389892BB05}" destId="{0DE19FD8-6121-B644-8E96-A8D0C5F43390}" srcOrd="0" destOrd="0" presId="urn:microsoft.com/office/officeart/2005/8/layout/orgChart1"/>
    <dgm:cxn modelId="{8743321F-2207-DA45-A542-6E036727AA4D}" type="presParOf" srcId="{C592CC94-61C7-1244-BE88-B9389892BB05}" destId="{ABBB6301-F4A5-8443-B91F-7C58848FE85D}" srcOrd="1" destOrd="0" presId="urn:microsoft.com/office/officeart/2005/8/layout/orgChart1"/>
    <dgm:cxn modelId="{58E7EA2A-3416-484B-9E1E-0583FF836C1B}" type="presParOf" srcId="{B735DF13-79A8-0F4A-AAEC-8A5D8170FF37}" destId="{C1F92B3B-D0C3-2149-8382-494C1829425D}" srcOrd="1" destOrd="0" presId="urn:microsoft.com/office/officeart/2005/8/layout/orgChart1"/>
    <dgm:cxn modelId="{09EF43B6-6A45-3546-B72C-BD011E6F8017}" type="presParOf" srcId="{B735DF13-79A8-0F4A-AAEC-8A5D8170FF37}" destId="{C8458093-73AF-1640-8973-D569607579B4}" srcOrd="2" destOrd="0" presId="urn:microsoft.com/office/officeart/2005/8/layout/orgChart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2DE68D-B505-254F-8BBD-069A0B3FC43F}">
      <dsp:nvSpPr>
        <dsp:cNvPr id="0" name=""/>
        <dsp:cNvSpPr/>
      </dsp:nvSpPr>
      <dsp:spPr>
        <a:xfrm>
          <a:off x="3879862" y="1902635"/>
          <a:ext cx="184137" cy="806698"/>
        </a:xfrm>
        <a:custGeom>
          <a:avLst/>
          <a:gdLst/>
          <a:ahLst/>
          <a:cxnLst/>
          <a:rect l="0" t="0" r="0" b="0"/>
          <a:pathLst>
            <a:path>
              <a:moveTo>
                <a:pt x="184137" y="0"/>
              </a:moveTo>
              <a:lnTo>
                <a:pt x="184137" y="806698"/>
              </a:lnTo>
              <a:lnTo>
                <a:pt x="0" y="806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09E577-A368-0244-AA20-BFDC35ED1556}">
      <dsp:nvSpPr>
        <dsp:cNvPr id="0" name=""/>
        <dsp:cNvSpPr/>
      </dsp:nvSpPr>
      <dsp:spPr>
        <a:xfrm>
          <a:off x="4064000" y="1902635"/>
          <a:ext cx="3182949" cy="1613396"/>
        </a:xfrm>
        <a:custGeom>
          <a:avLst/>
          <a:gdLst/>
          <a:ahLst/>
          <a:cxnLst/>
          <a:rect l="0" t="0" r="0" b="0"/>
          <a:pathLst>
            <a:path>
              <a:moveTo>
                <a:pt x="0" y="0"/>
              </a:moveTo>
              <a:lnTo>
                <a:pt x="0" y="1429258"/>
              </a:lnTo>
              <a:lnTo>
                <a:pt x="3182949" y="1429258"/>
              </a:lnTo>
              <a:lnTo>
                <a:pt x="3182949"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A0C57B6-9F94-1B4F-93A7-2E1211AB7269}">
      <dsp:nvSpPr>
        <dsp:cNvPr id="0" name=""/>
        <dsp:cNvSpPr/>
      </dsp:nvSpPr>
      <dsp:spPr>
        <a:xfrm>
          <a:off x="4064000" y="1902635"/>
          <a:ext cx="1060983" cy="1613396"/>
        </a:xfrm>
        <a:custGeom>
          <a:avLst/>
          <a:gdLst/>
          <a:ahLst/>
          <a:cxnLst/>
          <a:rect l="0" t="0" r="0" b="0"/>
          <a:pathLst>
            <a:path>
              <a:moveTo>
                <a:pt x="0" y="0"/>
              </a:moveTo>
              <a:lnTo>
                <a:pt x="0" y="1429258"/>
              </a:lnTo>
              <a:lnTo>
                <a:pt x="1060983" y="1429258"/>
              </a:lnTo>
              <a:lnTo>
                <a:pt x="1060983"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F9AD55-7AA5-984D-BE31-744DAB35098D}">
      <dsp:nvSpPr>
        <dsp:cNvPr id="0" name=""/>
        <dsp:cNvSpPr/>
      </dsp:nvSpPr>
      <dsp:spPr>
        <a:xfrm>
          <a:off x="3003016" y="1902635"/>
          <a:ext cx="1060983" cy="1613396"/>
        </a:xfrm>
        <a:custGeom>
          <a:avLst/>
          <a:gdLst/>
          <a:ahLst/>
          <a:cxnLst/>
          <a:rect l="0" t="0" r="0" b="0"/>
          <a:pathLst>
            <a:path>
              <a:moveTo>
                <a:pt x="1060983" y="0"/>
              </a:moveTo>
              <a:lnTo>
                <a:pt x="1060983" y="1429258"/>
              </a:lnTo>
              <a:lnTo>
                <a:pt x="0" y="1429258"/>
              </a:lnTo>
              <a:lnTo>
                <a:pt x="0"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4546B7-E5EC-1543-AF7D-F26C99B9B109}">
      <dsp:nvSpPr>
        <dsp:cNvPr id="0" name=""/>
        <dsp:cNvSpPr/>
      </dsp:nvSpPr>
      <dsp:spPr>
        <a:xfrm>
          <a:off x="881050" y="1902635"/>
          <a:ext cx="3182949" cy="1613396"/>
        </a:xfrm>
        <a:custGeom>
          <a:avLst/>
          <a:gdLst/>
          <a:ahLst/>
          <a:cxnLst/>
          <a:rect l="0" t="0" r="0" b="0"/>
          <a:pathLst>
            <a:path>
              <a:moveTo>
                <a:pt x="3182949" y="0"/>
              </a:moveTo>
              <a:lnTo>
                <a:pt x="3182949" y="1429258"/>
              </a:lnTo>
              <a:lnTo>
                <a:pt x="0" y="1429258"/>
              </a:lnTo>
              <a:lnTo>
                <a:pt x="0" y="1613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422603-16D6-E64C-9B0E-3755F2E97B5D}">
      <dsp:nvSpPr>
        <dsp:cNvPr id="0" name=""/>
        <dsp:cNvSpPr/>
      </dsp:nvSpPr>
      <dsp:spPr>
        <a:xfrm>
          <a:off x="3187154" y="1025789"/>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Management</a:t>
          </a:r>
        </a:p>
      </dsp:txBody>
      <dsp:txXfrm>
        <a:off x="3187154" y="1025789"/>
        <a:ext cx="1753691" cy="876845"/>
      </dsp:txXfrm>
    </dsp:sp>
    <dsp:sp modelId="{D592FF56-9BE7-7144-A8CA-DB48D7F0E395}">
      <dsp:nvSpPr>
        <dsp:cNvPr id="0" name=""/>
        <dsp:cNvSpPr/>
      </dsp:nvSpPr>
      <dsp:spPr>
        <a:xfrm>
          <a:off x="4204"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Auditor</a:t>
          </a:r>
        </a:p>
      </dsp:txBody>
      <dsp:txXfrm>
        <a:off x="4204" y="3516031"/>
        <a:ext cx="1753691" cy="876845"/>
      </dsp:txXfrm>
    </dsp:sp>
    <dsp:sp modelId="{4B91E9E3-02F5-664E-8F32-F12BF0DE7762}">
      <dsp:nvSpPr>
        <dsp:cNvPr id="0" name=""/>
        <dsp:cNvSpPr/>
      </dsp:nvSpPr>
      <dsp:spPr>
        <a:xfrm>
          <a:off x="2126170"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It Security</a:t>
          </a:r>
        </a:p>
      </dsp:txBody>
      <dsp:txXfrm>
        <a:off x="2126170" y="3516031"/>
        <a:ext cx="1753691" cy="876845"/>
      </dsp:txXfrm>
    </dsp:sp>
    <dsp:sp modelId="{417EC1D6-BA70-3844-B1D4-160F9F3DDBA0}">
      <dsp:nvSpPr>
        <dsp:cNvPr id="0" name=""/>
        <dsp:cNvSpPr/>
      </dsp:nvSpPr>
      <dsp:spPr>
        <a:xfrm>
          <a:off x="4248137"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Business Unit </a:t>
          </a:r>
        </a:p>
      </dsp:txBody>
      <dsp:txXfrm>
        <a:off x="4248137" y="3516031"/>
        <a:ext cx="1753691" cy="876845"/>
      </dsp:txXfrm>
    </dsp:sp>
    <dsp:sp modelId="{28512FDE-FB21-684F-A2C1-6A04C93939CB}">
      <dsp:nvSpPr>
        <dsp:cNvPr id="0" name=""/>
        <dsp:cNvSpPr/>
      </dsp:nvSpPr>
      <dsp:spPr>
        <a:xfrm>
          <a:off x="6370104" y="3516031"/>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Business Unit</a:t>
          </a:r>
        </a:p>
      </dsp:txBody>
      <dsp:txXfrm>
        <a:off x="6370104" y="3516031"/>
        <a:ext cx="1753691" cy="876845"/>
      </dsp:txXfrm>
    </dsp:sp>
    <dsp:sp modelId="{0DE19FD8-6121-B644-8E96-A8D0C5F43390}">
      <dsp:nvSpPr>
        <dsp:cNvPr id="0" name=""/>
        <dsp:cNvSpPr/>
      </dsp:nvSpPr>
      <dsp:spPr>
        <a:xfrm>
          <a:off x="2126170" y="2270910"/>
          <a:ext cx="1753691" cy="876845"/>
        </a:xfrm>
        <a:prstGeom prst="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t>Governance office</a:t>
          </a:r>
        </a:p>
      </dsp:txBody>
      <dsp:txXfrm>
        <a:off x="2126170" y="2270910"/>
        <a:ext cx="1753691" cy="87684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B620E76-BD2A-807A-4F6B-E2A2A22838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E029C42-B4BE-60D8-A545-51ED2B96F31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55ECE5-EB93-2D49-8FD9-DADF7BF71AD3}" type="datetimeFigureOut">
              <a:rPr lang="en-US" smtClean="0"/>
              <a:t>1/13/26</a:t>
            </a:fld>
            <a:endParaRPr lang="en-US"/>
          </a:p>
        </p:txBody>
      </p:sp>
      <p:sp>
        <p:nvSpPr>
          <p:cNvPr id="4" name="Footer Placeholder 3">
            <a:extLst>
              <a:ext uri="{FF2B5EF4-FFF2-40B4-BE49-F238E27FC236}">
                <a16:creationId xmlns:a16="http://schemas.microsoft.com/office/drawing/2014/main" id="{64EDE36F-DAD8-F01F-BFE8-FDEDCF89C99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101387A-ED64-7FD6-C691-6161AE846A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2108420-07C5-0549-A563-96974B861BA4}" type="slidenum">
              <a:rPr lang="en-US" smtClean="0"/>
              <a:t>‹#›</a:t>
            </a:fld>
            <a:endParaRPr lang="en-US"/>
          </a:p>
        </p:txBody>
      </p:sp>
    </p:spTree>
    <p:extLst>
      <p:ext uri="{BB962C8B-B14F-4D97-AF65-F5344CB8AC3E}">
        <p14:creationId xmlns:p14="http://schemas.microsoft.com/office/powerpoint/2010/main" val="280464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F44038-DA64-46A7-879B-15C019DD587C}" type="datetimeFigureOut">
              <a:rPr lang="en-US" smtClean="0"/>
              <a:t>1/13/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E54E06-3DA0-4567-A557-9A2D7B97E8BB}" type="slidenum">
              <a:rPr lang="en-US" smtClean="0"/>
              <a:t>‹#›</a:t>
            </a:fld>
            <a:endParaRPr lang="en-US"/>
          </a:p>
        </p:txBody>
      </p:sp>
    </p:spTree>
    <p:extLst>
      <p:ext uri="{BB962C8B-B14F-4D97-AF65-F5344CB8AC3E}">
        <p14:creationId xmlns:p14="http://schemas.microsoft.com/office/powerpoint/2010/main" val="124242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F453572-9C5C-4AEF-8FA5-D17DDB1F0B8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26 10:0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5932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d it’s critical that technology simplifies the way each data professional in your organization manages, discovers, and accesses data.  With a solution built for each role, business domain experts can accelerate data value while your data office and stewards provide the standards for consistent operations and can </a:t>
            </a:r>
            <a:r>
              <a:rPr lang="en-GB" sz="1800" b="0" i="0" u="none" strike="noStrike">
                <a:solidFill>
                  <a:srgbClr val="000000"/>
                </a:solidFill>
                <a:effectLst/>
                <a:latin typeface="Calibri" panose="020F0502020204030204" pitchFamily="34" charset="0"/>
              </a:rPr>
              <a:t>maintain commonalities.  It’s all about seamlessly enabling </a:t>
            </a:r>
            <a:r>
              <a:rPr lang="en-US" sz="1800"/>
              <a:t>responsible data democratization and federated governance.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C60545-2FD5-44C8-BAB5-70D83C4102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452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solidFill>
                  <a:srgbClr val="201F1E"/>
                </a:solidFill>
                <a:latin typeface="Calibri"/>
                <a:ea typeface="Calibri" panose="020F0502020204030204" pitchFamily="34" charset="0"/>
                <a:cs typeface="Calibri"/>
              </a:rPr>
              <a:t>With Microsoft Purview we bring together compliance and data governance</a:t>
            </a:r>
          </a:p>
          <a:p>
            <a:pPr marL="171450" indent="-171450">
              <a:buFont typeface="Arial" panose="020B0604020202020204" pitchFamily="34" charset="0"/>
              <a:buChar char="•"/>
            </a:pPr>
            <a:r>
              <a:rPr lang="en-US">
                <a:solidFill>
                  <a:srgbClr val="201F1E"/>
                </a:solidFill>
                <a:latin typeface="Calibri"/>
                <a:ea typeface="Calibri" panose="020F0502020204030204" pitchFamily="34" charset="0"/>
                <a:cs typeface="Calibri"/>
              </a:rPr>
              <a:t>The risk and compliance portfolio joins with our unified data governan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6 10:05 A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386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6E54E06-3DA0-4567-A557-9A2D7B97E8BB}" type="slidenum">
              <a:rPr lang="en-US" smtClean="0"/>
              <a:t>27</a:t>
            </a:fld>
            <a:endParaRPr lang="en-US"/>
          </a:p>
        </p:txBody>
      </p:sp>
    </p:spTree>
    <p:extLst>
      <p:ext uri="{BB962C8B-B14F-4D97-AF65-F5344CB8AC3E}">
        <p14:creationId xmlns:p14="http://schemas.microsoft.com/office/powerpoint/2010/main" val="2544013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1FDD0A-15DF-46EB-81E6-31125F40FB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6 10:0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56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espite understanding the key role governance plays, many organizations still struggle to implement effective data democratization.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Customers often struggle with securing the data, activating the data, and adhering to regulatory risks. </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74% of companies in a study had some data exposed in the past year</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68% of companies report not being able to activate the data to apply the right insights.. Leads to poor data quality</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47% of leaders are confident their organization is able to confidently meet AI regulations</a:t>
            </a:r>
          </a:p>
          <a:p>
            <a:pPr marL="342900" marR="0" lvl="0" indent="-342900" algn="l" defTabSz="914400" rtl="0" eaLnBrk="1" fontAlgn="auto" latinLnBrk="0" hangingPunct="1">
              <a:lnSpc>
                <a:spcPct val="115000"/>
              </a:lnSpc>
              <a:spcBef>
                <a:spcPts val="0"/>
              </a:spcBef>
              <a:spcAft>
                <a:spcPts val="300"/>
              </a:spcAft>
              <a:buClrTx/>
              <a:buSzTx/>
              <a:buFont typeface="+mj-lt"/>
              <a:buAutoNum type="arabicPeriod"/>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Each of these are approached as a siloes today, which leads to these pain points.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dirty="0">
                <a:effectLst/>
                <a:latin typeface="Segoe UI" panose="020B0502040204020203" pitchFamily="34" charset="0"/>
                <a:ea typeface="Segoe UI" panose="020B0502040204020203" pitchFamily="34" charset="0"/>
                <a:cs typeface="Times New Roman" panose="02020603050405020304" pitchFamily="18" charset="0"/>
              </a:rPr>
              <a:t>Activation means making your data ready for use, analysis, or integration into applications</a:t>
            </a:r>
          </a:p>
          <a:p>
            <a:pPr marL="0" marR="0" lvl="0" indent="0" algn="l" defTabSz="914400" rtl="0" eaLnBrk="1" fontAlgn="auto" latinLnBrk="0" hangingPunct="1">
              <a:lnSpc>
                <a:spcPct val="115000"/>
              </a:lnSpc>
              <a:spcBef>
                <a:spcPts val="0"/>
              </a:spcBef>
              <a:spcAft>
                <a:spcPts val="300"/>
              </a:spcAft>
              <a:buClrTx/>
              <a:buSzTx/>
              <a:buFontTx/>
              <a:buNone/>
              <a:tabLst>
                <a:tab pos="457200" algn="l"/>
              </a:tabLst>
              <a:defRPr/>
            </a:pP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6 10:0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1956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F0A85-F6F4-F696-008E-9F9D89059C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84CA33-ADAD-8F52-ED23-BD41DEA425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394C7F-8359-A862-9976-711A69A453F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5521F3C-BF11-D292-2EA3-E6897C9F37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0D15C-CFAC-4798-BDAA-16A2A3B4FA0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79901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ntroducing Microsoft Pu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o help organizations govern and protect data across their multi-cloud, multi-platform data environment, while meeting the compliance requirements they are subject to, we are announcing </a:t>
            </a:r>
            <a:r>
              <a:rPr lang="en-US" sz="1200" b="1" i="0" u="sng" kern="1200" dirty="0">
                <a:solidFill>
                  <a:schemeClr val="tx1"/>
                </a:solidFill>
                <a:effectLst/>
                <a:latin typeface="+mn-lt"/>
                <a:ea typeface="+mn-ea"/>
                <a:cs typeface="+mn-cs"/>
              </a:rPr>
              <a:t>Microsoft Purview. Microsoft Purview is a comprehensive set of solutions to help govern, protect, and manage your data estate.</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Microsoft Purview unifies information protection, data governance, risk management, and compliance solutions so that customers can manage their data all from one place. Now, they can leverage that visibility across their environment to help close exposure gaps, simplify tasks through automation, stay up-to-date with regulatory requirements, and keep their most important asset, data, safe.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ACE3B1-6B9B-41CF-93AF-274110029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7146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2C18A-E176-9867-FB66-6BF2A67308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654BC4-7092-B3E9-06C5-2C07CE7E2B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0930BF-0FD2-C165-D997-E88807A1CA02}"/>
              </a:ext>
            </a:extLst>
          </p:cNvPr>
          <p:cNvSpPr>
            <a:spLocks noGrp="1"/>
          </p:cNvSpPr>
          <p:nvPr>
            <p:ph type="body" idx="1"/>
          </p:nvPr>
        </p:nvSpPr>
        <p:spPr/>
        <p:txBody>
          <a:bodyPr/>
          <a:lstStyle/>
          <a:p>
            <a:r>
              <a:rPr lang="en-US" dirty="0"/>
              <a:t>But why has it been so hard for organizations? </a:t>
            </a:r>
          </a:p>
          <a:p>
            <a:endParaRPr lang="en-US" dirty="0"/>
          </a:p>
          <a:p>
            <a:r>
              <a:rPr lang="en-US" dirty="0"/>
              <a:t>One of the most common pain points in data governance technology implementation is </a:t>
            </a:r>
            <a:r>
              <a:rPr lang="en-US" b="1" dirty="0"/>
              <a:t>fragmentation</a:t>
            </a:r>
            <a:r>
              <a:rPr lang="en-US" dirty="0"/>
              <a:t>. Many organizations find themselves </a:t>
            </a:r>
            <a:r>
              <a:rPr lang="en-US" b="1" dirty="0"/>
              <a:t>inundated with tools aimed at governing and managing data. </a:t>
            </a:r>
            <a:r>
              <a:rPr lang="en-US" dirty="0"/>
              <a:t>This fragmentation leads to complexity, making it challenging to maintain a unified view of data across the organization. Additionally, these tools have historically been tailored to IT, making this a tedious and centralized process that wasn’t intended to address the core issues of governance. As a result, organizations struggle to ensure data quality, security, and compliance.</a:t>
            </a:r>
          </a:p>
          <a:p>
            <a:r>
              <a:rPr lang="en-US" dirty="0"/>
              <a:t>Unified Catalog – Atlas</a:t>
            </a:r>
          </a:p>
          <a:p>
            <a:r>
              <a:rPr lang="en-US" dirty="0"/>
              <a:t>Data Lineage – Collibra, Atlan</a:t>
            </a:r>
          </a:p>
          <a:p>
            <a:r>
              <a:rPr lang="en-US" dirty="0"/>
              <a:t>Data Quality – Internal custom implemented </a:t>
            </a:r>
          </a:p>
          <a:p>
            <a:endParaRPr lang="en-US" dirty="0"/>
          </a:p>
          <a:p>
            <a:r>
              <a:rPr lang="en-US" dirty="0"/>
              <a:t>The second common pain point is the </a:t>
            </a:r>
            <a:r>
              <a:rPr lang="en-US" b="1" dirty="0"/>
              <a:t>drudgery of labor intensive tasks associated with data governance</a:t>
            </a:r>
            <a:r>
              <a:rPr lang="en-US" dirty="0"/>
              <a:t>. Many organizations find themselves </a:t>
            </a:r>
            <a:r>
              <a:rPr lang="en-US" b="1" dirty="0"/>
              <a:t>constantly playing catch up,</a:t>
            </a:r>
            <a:r>
              <a:rPr lang="en-US" dirty="0"/>
              <a:t> struggling to keep pace with the ever-evolving data landscape. Manual processes, such as data classification, metadata management, and compliance reporting can be time-consuming and prone to error. This can result in the organization on a treadmill of prep and set up-- never really able to put the practice into data governance. </a:t>
            </a:r>
          </a:p>
          <a:p>
            <a:endParaRPr lang="en-US" dirty="0"/>
          </a:p>
          <a:p>
            <a:r>
              <a:rPr lang="en-US" dirty="0"/>
              <a:t>The third challenge in data governance implementation is the </a:t>
            </a:r>
            <a:r>
              <a:rPr lang="en-US" b="1" dirty="0"/>
              <a:t>tension between centrally managed governance and the demand for agility by the business units. </a:t>
            </a:r>
            <a:r>
              <a:rPr lang="en-US" dirty="0"/>
              <a:t>Centralized governance models can sometimes stifle innovation and </a:t>
            </a:r>
            <a:r>
              <a:rPr lang="en-US" b="1" dirty="0"/>
              <a:t>lead to the emergence of shadow business intelligence (BI) initiatives.</a:t>
            </a:r>
            <a:r>
              <a:rPr lang="en-US" dirty="0"/>
              <a:t> Business units may get frustrated and resort to using unauthorized tools and processes to meet their specific needs, bypassing centralized governance protocols, and prone to making mistakes. </a:t>
            </a:r>
          </a:p>
          <a:p>
            <a:endParaRPr lang="en-US" dirty="0"/>
          </a:p>
          <a:p>
            <a:r>
              <a:rPr lang="en-US" dirty="0"/>
              <a:t>Finally, a key pain point in data governance technology implementation is </a:t>
            </a:r>
            <a:r>
              <a:rPr lang="en-US" b="1" dirty="0"/>
              <a:t>lack of tools well tailored for the roles in the enterprise who need to perform different tasks.</a:t>
            </a:r>
            <a:r>
              <a:rPr lang="en-US" dirty="0"/>
              <a:t>  Traditional governance tools often catered primarily to IT. But with the datasphere growing at an unprecedented pace, having a business-friendly experiences that cater to self-service by data stewards and data consumers is critical. </a:t>
            </a:r>
          </a:p>
          <a:p>
            <a:endParaRPr lang="en-US" dirty="0"/>
          </a:p>
          <a:p>
            <a:endParaRPr lang="en-US" dirty="0"/>
          </a:p>
        </p:txBody>
      </p:sp>
      <p:sp>
        <p:nvSpPr>
          <p:cNvPr id="4" name="Header Placeholder 3">
            <a:extLst>
              <a:ext uri="{FF2B5EF4-FFF2-40B4-BE49-F238E27FC236}">
                <a16:creationId xmlns:a16="http://schemas.microsoft.com/office/drawing/2014/main" id="{1D9F3B2C-A08D-7F0D-B3CD-A86991488FD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E118DD1-63D9-AFAB-DF9C-43711202601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F3B987-246F-7651-17C6-96A1B06D97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26 10:0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9A5CDB1-B9A0-7E9D-1975-3107A62CC04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8785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defRPr/>
            </a:pPr>
            <a:r>
              <a:rPr lang="en-US" dirty="0"/>
              <a:t>As we share our journey, we want to provide some of the valuable lessons about building a data governance culture to support overall data and digital transformation. We learned that we how to navigate and identify the key strengths of various governance models, how to secure internal support, establishing robust tracking and accountability mechanisms, and adhering to core principles were the keys to driving ongoing data governance transformation. These lessons highlight the importance of adaptability, stakeholder engagement, and strategic implementation in building an effective data governance culture.</a:t>
            </a:r>
          </a:p>
          <a:p>
            <a:pPr>
              <a:lnSpc>
                <a:spcPct val="90000"/>
              </a:lnSpc>
              <a:defRPr/>
            </a:pPr>
            <a:endParaRPr lang="en-US" dirty="0"/>
          </a:p>
          <a:p>
            <a:r>
              <a:rPr lang="en-US" b="0" i="0" dirty="0">
                <a:solidFill>
                  <a:srgbClr val="D1D5DB"/>
                </a:solidFill>
                <a:effectLst/>
                <a:highlight>
                  <a:srgbClr val="081923"/>
                </a:highlight>
                <a:latin typeface="Inter"/>
              </a:rPr>
              <a:t>Key challenges we had to overcome: </a:t>
            </a:r>
            <a:br>
              <a:rPr lang="en-US" b="0" i="0" dirty="0">
                <a:solidFill>
                  <a:srgbClr val="D1D5DB"/>
                </a:solidFill>
                <a:effectLst/>
                <a:highlight>
                  <a:srgbClr val="081923"/>
                </a:highlight>
                <a:latin typeface="Inter"/>
              </a:rPr>
            </a:br>
            <a:endParaRPr lang="en-US" b="0" i="0" dirty="0">
              <a:solidFill>
                <a:srgbClr val="D1D5DB"/>
              </a:solidFill>
              <a:effectLst/>
              <a:highlight>
                <a:srgbClr val="081923"/>
              </a:highlight>
              <a:latin typeface="Inter"/>
            </a:endParaRPr>
          </a:p>
          <a:p>
            <a:r>
              <a:rPr lang="en-US" b="1" i="0" dirty="0">
                <a:solidFill>
                  <a:srgbClr val="D1D5DB"/>
                </a:solidFill>
                <a:effectLst/>
                <a:highlight>
                  <a:srgbClr val="081923"/>
                </a:highlight>
                <a:latin typeface="Inter"/>
              </a:rPr>
              <a:t>Organically-grown Data Estates:</a:t>
            </a:r>
            <a:r>
              <a:rPr lang="en-US" b="0" i="0" dirty="0">
                <a:solidFill>
                  <a:srgbClr val="D1D5DB"/>
                </a:solidFill>
                <a:effectLst/>
                <a:highlight>
                  <a:srgbClr val="081923"/>
                </a:highlight>
                <a:latin typeface="Inter"/>
              </a:rPr>
              <a:t> Our data estates had evolved organically over time, leading to a lack of uniformity and consistency in how data was managed. This organic growth made it difficult to implement a cohesive governance strategy."</a:t>
            </a:r>
          </a:p>
          <a:p>
            <a:pPr algn="l">
              <a:buFont typeface="Arial" panose="020B0604020202020204" pitchFamily="34" charset="0"/>
              <a:buChar char="•"/>
            </a:pPr>
            <a:r>
              <a:rPr lang="en-US" b="1" i="0" dirty="0">
                <a:solidFill>
                  <a:srgbClr val="D1D5DB"/>
                </a:solidFill>
                <a:effectLst/>
                <a:highlight>
                  <a:srgbClr val="081923"/>
                </a:highlight>
                <a:latin typeface="Inter"/>
              </a:rPr>
              <a:t>Data Silos:</a:t>
            </a:r>
            <a:r>
              <a:rPr lang="en-US" b="0" i="0" dirty="0">
                <a:solidFill>
                  <a:srgbClr val="D1D5DB"/>
                </a:solidFill>
                <a:effectLst/>
                <a:highlight>
                  <a:srgbClr val="081923"/>
                </a:highlight>
                <a:latin typeface="Inter"/>
              </a:rPr>
              <a:t> Centralized governance resulted in data being trapped in silos, which severely limited accessibility and prevented comprehensive insights. Breaking down these silos was essential to enable better data integration and utilization."</a:t>
            </a:r>
          </a:p>
          <a:p>
            <a:pPr algn="l">
              <a:buFont typeface="Arial" panose="020B0604020202020204" pitchFamily="34" charset="0"/>
              <a:buChar char="•"/>
            </a:pPr>
            <a:r>
              <a:rPr lang="en-US" b="1" i="0" dirty="0">
                <a:solidFill>
                  <a:srgbClr val="D1D5DB"/>
                </a:solidFill>
                <a:effectLst/>
                <a:highlight>
                  <a:srgbClr val="081923"/>
                </a:highlight>
                <a:latin typeface="Inter"/>
              </a:rPr>
              <a:t>Centralized Governance Hindering Agility:</a:t>
            </a:r>
            <a:r>
              <a:rPr lang="en-US" b="0" i="0" dirty="0">
                <a:solidFill>
                  <a:srgbClr val="D1D5DB"/>
                </a:solidFill>
                <a:effectLst/>
                <a:highlight>
                  <a:srgbClr val="081923"/>
                </a:highlight>
                <a:latin typeface="Inter"/>
              </a:rPr>
              <a:t> Our centralized governance model, while intended to maintain control, became a barrier to agility. Slow decision-making processes and cumbersome compliance requirements stifled innovation and responsiveness. We needed a more flexible approach to adapt quickly to changing business needs."</a:t>
            </a:r>
          </a:p>
          <a:p>
            <a:pPr algn="l">
              <a:buFont typeface="Arial" panose="020B0604020202020204" pitchFamily="34" charset="0"/>
              <a:buChar char="•"/>
            </a:pPr>
            <a:r>
              <a:rPr lang="en-US" b="1" i="0" dirty="0">
                <a:solidFill>
                  <a:srgbClr val="D1D5DB"/>
                </a:solidFill>
                <a:effectLst/>
                <a:highlight>
                  <a:srgbClr val="081923"/>
                </a:highlight>
                <a:latin typeface="Inter"/>
              </a:rPr>
              <a:t>Decentralized Governance without Consistent Standards:</a:t>
            </a:r>
            <a:r>
              <a:rPr lang="en-US" b="0" i="0" dirty="0">
                <a:solidFill>
                  <a:srgbClr val="D1D5DB"/>
                </a:solidFill>
                <a:effectLst/>
                <a:highlight>
                  <a:srgbClr val="081923"/>
                </a:highlight>
                <a:latin typeface="Inter"/>
              </a:rPr>
              <a:t> On the other hand, where decentralized governance was applied, it often lacked consistent standards. This inconsistency led to fragmented data practices and uneven compliance across different parts of the organization. Establishing cohesive standards was critical to ensure uniformity and compliance across all data governance efforts."</a:t>
            </a:r>
          </a:p>
          <a:p>
            <a:pPr algn="l">
              <a:buFont typeface="Arial" panose="020B0604020202020204" pitchFamily="34" charset="0"/>
              <a:buChar char="•"/>
            </a:pPr>
            <a:endParaRPr lang="en-US" b="0" i="0" dirty="0">
              <a:solidFill>
                <a:srgbClr val="D1D5DB"/>
              </a:solidFill>
              <a:effectLst/>
              <a:highlight>
                <a:srgbClr val="081923"/>
              </a:highlight>
              <a:latin typeface="Inter"/>
            </a:endParaRPr>
          </a:p>
          <a:p>
            <a:pPr>
              <a:lnSpc>
                <a:spcPct val="90000"/>
              </a:lnSpc>
              <a:defRP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26 10:0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359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000000"/>
                </a:solidFill>
                <a:latin typeface="Calibri"/>
                <a:ea typeface="Calibri"/>
                <a:cs typeface="Calibri"/>
              </a:rPr>
              <a:t>As we look to scale data governance, there are three broad operating models to consider. At Microsoft, we have lived through all three models in the last 5-8 years. </a:t>
            </a:r>
          </a:p>
          <a:p>
            <a:endParaRPr lang="en-GB" dirty="0">
              <a:solidFill>
                <a:srgbClr val="000000"/>
              </a:solidFill>
              <a:latin typeface="Calibri"/>
              <a:ea typeface="Calibri"/>
              <a:cs typeface="Calibri"/>
            </a:endParaRPr>
          </a:p>
          <a:p>
            <a:pPr marL="171450" indent="-171450">
              <a:buFont typeface="Arial" panose="020B0604020202020204" pitchFamily="34" charset="0"/>
              <a:buChar char="•"/>
            </a:pPr>
            <a:r>
              <a:rPr lang="en-GB" dirty="0">
                <a:solidFill>
                  <a:srgbClr val="000000"/>
                </a:solidFill>
                <a:latin typeface="Calibri"/>
                <a:ea typeface="Calibri"/>
                <a:cs typeface="Calibri"/>
              </a:rPr>
              <a:t>We began with a centralized model. This model is where you have a single team, typical a data office in an IT organization, which is accountable for managing the entire enterprise data estate. This can help you harden your controls and keep your data estate secure and compliant. The challenge with this model is when everything is gated through one team it will impact agility of the business to innovate and apply data in free and unique ways. </a:t>
            </a:r>
          </a:p>
          <a:p>
            <a:pPr marL="171450" indent="-171450">
              <a:buFont typeface="Arial" panose="020B0604020202020204" pitchFamily="34" charset="0"/>
              <a:buChar char="•"/>
            </a:pPr>
            <a:r>
              <a:rPr lang="en-GB" dirty="0">
                <a:solidFill>
                  <a:srgbClr val="000000"/>
                </a:solidFill>
                <a:latin typeface="Calibri"/>
                <a:ea typeface="Calibri"/>
                <a:cs typeface="Calibri"/>
              </a:rPr>
              <a:t>The next model we navigated was the decentralized model. This brings significant agility at the edge and enables business teams to innovate faster but comes with the cost of not being able to realize the efficiencies that can be gained by standardized and making more common the security compliance and privacy aspects of your data estate. </a:t>
            </a:r>
          </a:p>
          <a:p>
            <a:pPr marL="171450" indent="-171450">
              <a:buFont typeface="Arial" panose="020B0604020202020204" pitchFamily="34" charset="0"/>
              <a:buChar char="•"/>
            </a:pPr>
            <a:r>
              <a:rPr lang="en-GB" dirty="0">
                <a:solidFill>
                  <a:srgbClr val="000000"/>
                </a:solidFill>
                <a:latin typeface="Calibri"/>
                <a:ea typeface="Calibri"/>
                <a:cs typeface="Calibri"/>
              </a:rPr>
              <a:t>The industry is now converging towards a federated data governance model. This gives you the best of both. It enables you to maintain commonalities and consistent operations while enabling those capabilities to responsible democratize data to broader organization-wide functions and users who can self-serve in managing their data estate in discovering, understanding, accessing and applying data. </a:t>
            </a:r>
          </a:p>
          <a:p>
            <a:pPr marL="171450" indent="-171450">
              <a:buFont typeface="Arial" panose="020B0604020202020204" pitchFamily="34" charset="0"/>
              <a:buChar char="•"/>
            </a:pPr>
            <a:endParaRPr lang="en-GB" dirty="0">
              <a:solidFill>
                <a:srgbClr val="000000"/>
              </a:solidFill>
              <a:latin typeface="Calibri"/>
              <a:ea typeface="Calibri"/>
              <a:cs typeface="Calibri"/>
            </a:endParaRPr>
          </a:p>
          <a:p>
            <a:pPr marL="0" indent="0">
              <a:buFont typeface="Arial" panose="020B0604020202020204" pitchFamily="34" charset="0"/>
              <a:buNone/>
            </a:pPr>
            <a:r>
              <a:rPr lang="en-GB" dirty="0">
                <a:solidFill>
                  <a:srgbClr val="000000"/>
                </a:solidFill>
                <a:latin typeface="Calibri"/>
                <a:ea typeface="Calibri"/>
                <a:cs typeface="Calibri"/>
              </a:rPr>
              <a:t>We at Microsoft firmly believe in the federated data governance model and in enabling these business users to rapidly accelerate business innovation with data. </a:t>
            </a:r>
          </a:p>
          <a:p>
            <a:pPr marL="171450" indent="-171450">
              <a:buFont typeface="Arial" panose="020B0604020202020204" pitchFamily="34" charset="0"/>
              <a:buChar char="•"/>
            </a:pPr>
            <a:endParaRPr lang="en-GB" dirty="0">
              <a:solidFill>
                <a:srgbClr val="000000"/>
              </a:solidFill>
              <a:latin typeface="Calibri"/>
              <a:ea typeface="Calibri"/>
              <a:cs typeface="Calibri"/>
            </a:endParaRPr>
          </a:p>
          <a:p>
            <a:pPr>
              <a:buFont typeface="+mj-lt"/>
              <a:buAutoNum type="arabicPeriod"/>
            </a:pPr>
            <a:endParaRPr lang="en-US" b="1" dirty="0"/>
          </a:p>
          <a:p>
            <a:pPr>
              <a:buFont typeface="+mj-lt"/>
              <a:buNone/>
            </a:pPr>
            <a:r>
              <a:rPr lang="en-US" b="1" dirty="0"/>
              <a:t>Additional notes for speaker if needed:  </a:t>
            </a:r>
          </a:p>
          <a:p>
            <a:pPr>
              <a:buFont typeface="+mj-lt"/>
              <a:buAutoNum type="arabicPeriod"/>
            </a:pPr>
            <a:r>
              <a:rPr lang="en-US" b="0" dirty="0"/>
              <a:t>Key Benefits:</a:t>
            </a:r>
          </a:p>
          <a:p>
            <a:pPr marL="742950" lvl="1" indent="-285750">
              <a:buFont typeface="+mj-lt"/>
              <a:buAutoNum type="arabicPeriod"/>
            </a:pPr>
            <a:r>
              <a:rPr lang="en-US" b="0" dirty="0"/>
              <a:t>Autonomy and Control: Local customization under a unified strategy.</a:t>
            </a:r>
          </a:p>
          <a:p>
            <a:pPr marL="742950" lvl="1" indent="-285750">
              <a:buFont typeface="+mj-lt"/>
              <a:buAutoNum type="arabicPeriod"/>
            </a:pPr>
            <a:r>
              <a:rPr lang="en-US" b="0" dirty="0"/>
              <a:t>Responsiveness and Agility: Quick adaptation to department-specific needs.</a:t>
            </a:r>
          </a:p>
          <a:p>
            <a:pPr marL="742950" lvl="1" indent="-285750">
              <a:buFont typeface="+mj-lt"/>
              <a:buAutoNum type="arabicPeriod"/>
            </a:pPr>
            <a:r>
              <a:rPr lang="en-US" b="0" dirty="0"/>
              <a:t>Scalability: Adapts to growth and changes in organizational structure.</a:t>
            </a:r>
          </a:p>
          <a:p>
            <a:pPr marL="742950" lvl="1" indent="-285750">
              <a:buFont typeface="+mj-lt"/>
              <a:buAutoNum type="arabicPeriod"/>
            </a:pPr>
            <a:r>
              <a:rPr lang="en-US" b="0" dirty="0"/>
              <a:t>Compliance Assurance: Maintains overarching compliance while allowing local variations.</a:t>
            </a:r>
          </a:p>
          <a:p>
            <a:pPr marL="742950" lvl="1" indent="-285750">
              <a:buFont typeface="+mj-lt"/>
              <a:buAutoNum type="arabicPeriod"/>
            </a:pPr>
            <a:r>
              <a:rPr lang="en-US" b="0" dirty="0"/>
              <a:t>Collaboration: Promotes knowledge sharing and best practice dissemination across units.</a:t>
            </a:r>
          </a:p>
          <a:p>
            <a:pPr>
              <a:buFont typeface="+mj-lt"/>
              <a:buAutoNum type="arabicPeriod"/>
            </a:pPr>
            <a:r>
              <a:rPr lang="en-US" b="0" dirty="0"/>
              <a:t>Why the Shift is Important:</a:t>
            </a:r>
          </a:p>
          <a:p>
            <a:pPr marL="742950" lvl="1" indent="-285750">
              <a:buFont typeface="+mj-lt"/>
              <a:buAutoNum type="arabicPeriod"/>
            </a:pPr>
            <a:r>
              <a:rPr lang="en-US" b="0" dirty="0"/>
              <a:t>Complex Data Landscapes: Manages increasing data intricacy efficiently.</a:t>
            </a:r>
          </a:p>
          <a:p>
            <a:pPr marL="742950" lvl="1" indent="-285750">
              <a:buFont typeface="+mj-lt"/>
              <a:buAutoNum type="arabicPeriod"/>
            </a:pPr>
            <a:r>
              <a:rPr lang="en-US" b="0" dirty="0"/>
              <a:t>Regulatory Compliance: Meets stringent global data protection laws.</a:t>
            </a:r>
          </a:p>
          <a:p>
            <a:pPr marL="742950" lvl="1" indent="-285750">
              <a:buFont typeface="+mj-lt"/>
              <a:buAutoNum type="arabicPeriod"/>
            </a:pPr>
            <a:r>
              <a:rPr lang="en-US" b="0" dirty="0"/>
              <a:t>Business Agility: Supports rapid response to market changes.</a:t>
            </a:r>
          </a:p>
          <a:p>
            <a:pPr marL="742950" lvl="1" indent="-285750">
              <a:buFont typeface="+mj-lt"/>
              <a:buAutoNum type="arabicPeriod"/>
            </a:pPr>
            <a:r>
              <a:rPr lang="en-US" b="0" dirty="0"/>
              <a:t>Organizational Decentralization: Suits geographically and operationally diverse entities.</a:t>
            </a:r>
          </a:p>
          <a:p>
            <a:pPr>
              <a:buFont typeface="Arial" panose="020B0604020202020204" pitchFamily="34" charset="0"/>
            </a:pPr>
            <a:endParaRPr lang="en-GB" dirty="0">
              <a:latin typeface="Calibri"/>
              <a:cs typeface="Calibri"/>
            </a:endParaRPr>
          </a:p>
          <a:p>
            <a:pPr>
              <a:buFont typeface="Arial" panose="020B0604020202020204" pitchFamily="34" charset="0"/>
            </a:pPr>
            <a:endParaRPr lang="en-GB" dirty="0">
              <a:latin typeface="Calibri"/>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00E4BB-37B3-40A7-97C6-57D4DE674E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744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BB85DFA4-E531-7CAE-9CA4-D6E3721DCBE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A6CC10C-9A9B-3BEA-1179-55B42C6B6033}"/>
              </a:ext>
            </a:extLst>
          </p:cNvPr>
          <p:cNvSpPr>
            <a:spLocks noGrp="1"/>
          </p:cNvSpPr>
          <p:nvPr>
            <p:ph type="body" idx="1"/>
          </p:nvPr>
        </p:nvSpPr>
        <p:spPr/>
        <p:txBody>
          <a:bodyPr/>
          <a:lstStyle/>
          <a:p>
            <a:pPr defTabSz="914367" fontAlgn="auto">
              <a:lnSpc>
                <a:spcPct val="90000"/>
              </a:lnSpc>
              <a:spcBef>
                <a:spcPts val="0"/>
              </a:spcBef>
              <a:spcAft>
                <a:spcPts val="333"/>
              </a:spcAft>
              <a:defRPr/>
            </a:pPr>
            <a:r>
              <a:rPr lang="en-US" sz="900">
                <a:solidFill>
                  <a:srgbClr val="000000"/>
                </a:solidFill>
                <a:latin typeface="Segoe UI" panose="020B0502040204020203" pitchFamily="34" charset="0"/>
                <a:ea typeface="Times New Roman" panose="02020603050405020304" pitchFamily="18" charset="0"/>
              </a:rPr>
              <a:t>The Microsoft Purview family is here to help you </a:t>
            </a:r>
            <a:r>
              <a:rPr lang="en-US" sz="1100">
                <a:solidFill>
                  <a:srgbClr val="000000"/>
                </a:solidFill>
                <a:latin typeface="Calibri" panose="020F0502020204030204" pitchFamily="34" charset="0"/>
              </a:rPr>
              <a:t>govern and protect data across multi-cloud, multi-platform data environment, while helping you meet compliance requirements you may be subject to; helping </a:t>
            </a:r>
            <a:r>
              <a:rPr lang="en-US" sz="900">
                <a:solidFill>
                  <a:srgbClr val="000000"/>
                </a:solidFill>
                <a:latin typeface="Segoe UI" panose="020B0502040204020203" pitchFamily="34" charset="0"/>
                <a:ea typeface="Times New Roman" panose="02020603050405020304" pitchFamily="18" charset="0"/>
              </a:rPr>
              <a:t>you with your data security, data governance and data compliance needs.</a:t>
            </a:r>
          </a:p>
          <a:p>
            <a:pPr defTabSz="914367" fontAlgn="auto">
              <a:lnSpc>
                <a:spcPct val="90000"/>
              </a:lnSpc>
              <a:spcBef>
                <a:spcPts val="0"/>
              </a:spcBef>
              <a:spcAft>
                <a:spcPts val="333"/>
              </a:spcAft>
              <a:defRPr/>
            </a:pPr>
            <a:endParaRPr lang="en-US" sz="900">
              <a:solidFill>
                <a:srgbClr val="000000"/>
              </a:solidFill>
              <a:latin typeface="Segoe UI" panose="020B0502040204020203" pitchFamily="34" charset="0"/>
              <a:ea typeface="Times New Roman" panose="02020603050405020304" pitchFamily="18" charset="0"/>
            </a:endParaRPr>
          </a:p>
          <a:p>
            <a:pPr defTabSz="914367" fontAlgn="auto">
              <a:lnSpc>
                <a:spcPct val="90000"/>
              </a:lnSpc>
              <a:spcBef>
                <a:spcPts val="0"/>
              </a:spcBef>
              <a:spcAft>
                <a:spcPts val="333"/>
              </a:spcAft>
              <a:defRPr/>
            </a:pPr>
            <a:r>
              <a:rPr lang="en-US" sz="900">
                <a:solidFill>
                  <a:srgbClr val="000000"/>
                </a:solidFill>
                <a:latin typeface="Segoe UI" panose="020B0502040204020203" pitchFamily="34" charset="0"/>
                <a:ea typeface="Times New Roman" panose="02020603050405020304" pitchFamily="18" charset="0"/>
              </a:rPr>
              <a:t>Purview brings simplicity with a comprehensive set of solutions built on a platform of shared capabilities, </a:t>
            </a:r>
            <a:r>
              <a:rPr lang="en-US" sz="900"/>
              <a:t>that helps keep your most important asset, </a:t>
            </a:r>
            <a:r>
              <a:rPr lang="en-US" sz="900" i="1"/>
              <a:t>data</a:t>
            </a:r>
            <a:r>
              <a:rPr lang="en-US" sz="900"/>
              <a:t>, safe. </a:t>
            </a:r>
          </a:p>
          <a:p>
            <a:pPr defTabSz="914367" fontAlgn="auto">
              <a:lnSpc>
                <a:spcPct val="90000"/>
              </a:lnSpc>
              <a:spcBef>
                <a:spcPts val="0"/>
              </a:spcBef>
              <a:spcAft>
                <a:spcPts val="333"/>
              </a:spcAft>
              <a:defRPr/>
            </a:pPr>
            <a:endParaRPr lang="en-US" sz="900"/>
          </a:p>
          <a:p>
            <a:pPr defTabSz="914367" fontAlgn="auto">
              <a:lnSpc>
                <a:spcPct val="90000"/>
              </a:lnSpc>
              <a:spcBef>
                <a:spcPts val="0"/>
              </a:spcBef>
              <a:spcAft>
                <a:spcPts val="333"/>
              </a:spcAft>
              <a:defRPr/>
            </a:pPr>
            <a:r>
              <a:rPr lang="en-US" sz="900"/>
              <a:t>Notes</a:t>
            </a:r>
          </a:p>
          <a:p>
            <a:pPr marL="171450" indent="-171450" defTabSz="914367" fontAlgn="auto">
              <a:lnSpc>
                <a:spcPct val="90000"/>
              </a:lnSpc>
              <a:spcBef>
                <a:spcPts val="0"/>
              </a:spcBef>
              <a:spcAft>
                <a:spcPts val="333"/>
              </a:spcAft>
              <a:buFontTx/>
              <a:buChar char="-"/>
              <a:defRPr/>
            </a:pPr>
            <a:r>
              <a:rPr lang="en-US" sz="900"/>
              <a:t>Data Governance is overloaded  (Info Governance as well)</a:t>
            </a:r>
          </a:p>
          <a:p>
            <a:pPr marL="171450" indent="-171450" defTabSz="914367" fontAlgn="auto">
              <a:lnSpc>
                <a:spcPct val="90000"/>
              </a:lnSpc>
              <a:spcBef>
                <a:spcPts val="0"/>
              </a:spcBef>
              <a:spcAft>
                <a:spcPts val="333"/>
              </a:spcAft>
              <a:buFontTx/>
              <a:buChar char="-"/>
              <a:defRPr/>
            </a:pPr>
            <a:r>
              <a:rPr lang="en-US" sz="900"/>
              <a:t>Data Governance is not needed to do security and compliance for Copilot for M365</a:t>
            </a:r>
          </a:p>
          <a:p>
            <a:pPr marL="171450" indent="-171450" defTabSz="914367" fontAlgn="auto">
              <a:lnSpc>
                <a:spcPct val="90000"/>
              </a:lnSpc>
              <a:spcBef>
                <a:spcPts val="0"/>
              </a:spcBef>
              <a:spcAft>
                <a:spcPts val="333"/>
              </a:spcAft>
              <a:buFontTx/>
              <a:buChar char="-"/>
              <a:defRPr/>
            </a:pPr>
            <a:r>
              <a:rPr lang="en-US" sz="900"/>
              <a:t>Consider alternative ways to avoid ‘Data Governance’ overloading</a:t>
            </a:r>
          </a:p>
        </p:txBody>
      </p:sp>
      <p:sp>
        <p:nvSpPr>
          <p:cNvPr id="82948" name="Header Placeholder 3">
            <a:extLst>
              <a:ext uri="{FF2B5EF4-FFF2-40B4-BE49-F238E27FC236}">
                <a16:creationId xmlns:a16="http://schemas.microsoft.com/office/drawing/2014/main" id="{1B01A9C4-3570-638C-2ECD-AD6B710E1DB3}"/>
              </a:ext>
            </a:extLst>
          </p:cNvPr>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endParaRPr lang="en-US" altLang="en-US">
              <a:solidFill>
                <a:srgbClr val="000000"/>
              </a:solidFill>
            </a:endParaRPr>
          </a:p>
        </p:txBody>
      </p:sp>
      <p:sp>
        <p:nvSpPr>
          <p:cNvPr id="5" name="Footer Placeholder 4">
            <a:extLst>
              <a:ext uri="{FF2B5EF4-FFF2-40B4-BE49-F238E27FC236}">
                <a16:creationId xmlns:a16="http://schemas.microsoft.com/office/drawing/2014/main" id="{CB4331DB-C3C4-A991-02E1-76F2D22CB7DC}"/>
              </a:ext>
            </a:extLst>
          </p:cNvPr>
          <p:cNvSpPr>
            <a:spLocks noGrp="1"/>
          </p:cNvSpPr>
          <p:nvPr>
            <p:ph type="ftr" sz="quarter" idx="4"/>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82950" name="Date Placeholder 5">
            <a:extLst>
              <a:ext uri="{FF2B5EF4-FFF2-40B4-BE49-F238E27FC236}">
                <a16:creationId xmlns:a16="http://schemas.microsoft.com/office/drawing/2014/main" id="{5C888E4C-5273-FA5E-89EA-B53A3E57C682}"/>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9780ED74-E60F-9445-A1A2-BACF744B363D}" type="datetime8">
              <a:rPr lang="en-US" altLang="en-US">
                <a:solidFill>
                  <a:srgbClr val="000000"/>
                </a:solidFill>
              </a:rPr>
              <a:pPr fontAlgn="base">
                <a:spcBef>
                  <a:spcPct val="0"/>
                </a:spcBef>
                <a:spcAft>
                  <a:spcPct val="0"/>
                </a:spcAft>
              </a:pPr>
              <a:t>1/13/26 10:05 AM</a:t>
            </a:fld>
            <a:endParaRPr lang="en-US" altLang="en-US">
              <a:solidFill>
                <a:srgbClr val="000000"/>
              </a:solidFill>
            </a:endParaRPr>
          </a:p>
        </p:txBody>
      </p:sp>
      <p:sp>
        <p:nvSpPr>
          <p:cNvPr id="82951" name="Slide Number Placeholder 6">
            <a:extLst>
              <a:ext uri="{FF2B5EF4-FFF2-40B4-BE49-F238E27FC236}">
                <a16:creationId xmlns:a16="http://schemas.microsoft.com/office/drawing/2014/main" id="{A031DABF-EF9F-0459-09E8-19F2F166D62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916E3518-B03E-754D-BC70-29BEA5F0D1C0}" type="slidenum">
              <a:rPr lang="en-US" altLang="en-US">
                <a:solidFill>
                  <a:srgbClr val="000000"/>
                </a:solidFill>
              </a:rPr>
              <a:pPr fontAlgn="base">
                <a:spcBef>
                  <a:spcPct val="0"/>
                </a:spcBef>
                <a:spcAft>
                  <a:spcPct val="0"/>
                </a:spcAft>
              </a:pPr>
              <a:t>10</a:t>
            </a:fld>
            <a:endParaRPr lang="en-US" altLang="en-US">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opening">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3631228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Tree>
    <p:extLst>
      <p:ext uri="{BB962C8B-B14F-4D97-AF65-F5344CB8AC3E}">
        <p14:creationId xmlns:p14="http://schemas.microsoft.com/office/powerpoint/2010/main" val="41127384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a:off x="0" y="0"/>
            <a:ext cx="12192000" cy="6864626"/>
          </a:xfrm>
          <a:prstGeom prst="rect">
            <a:avLst/>
          </a:prstGeom>
        </p:spPr>
      </p:pic>
    </p:spTree>
    <p:extLst>
      <p:ext uri="{BB962C8B-B14F-4D97-AF65-F5344CB8AC3E}">
        <p14:creationId xmlns:p14="http://schemas.microsoft.com/office/powerpoint/2010/main" val="3601852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b="-2555"/>
          <a:stretch/>
        </p:blipFill>
        <p:spPr>
          <a:xfrm>
            <a:off x="7472516" y="0"/>
            <a:ext cx="4719484" cy="6312924"/>
          </a:xfrm>
          <a:prstGeom prst="rect">
            <a:avLst/>
          </a:prstGeom>
        </p:spPr>
      </p:pic>
    </p:spTree>
    <p:extLst>
      <p:ext uri="{BB962C8B-B14F-4D97-AF65-F5344CB8AC3E}">
        <p14:creationId xmlns:p14="http://schemas.microsoft.com/office/powerpoint/2010/main" val="14895280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40000"/>
            <a:extLst>
              <a:ext uri="{28A0092B-C50C-407E-A947-70E740481C1C}">
                <a14:useLocalDpi xmlns:a14="http://schemas.microsoft.com/office/drawing/2010/main"/>
              </a:ext>
            </a:extLst>
          </a:blip>
          <a:srcRect t="-25484"/>
          <a:stretch/>
        </p:blipFill>
        <p:spPr>
          <a:xfrm>
            <a:off x="0" y="2473263"/>
            <a:ext cx="4316896" cy="4384737"/>
          </a:xfrm>
          <a:prstGeom prst="rect">
            <a:avLst/>
          </a:prstGeom>
        </p:spPr>
      </p:pic>
    </p:spTree>
    <p:extLst>
      <p:ext uri="{BB962C8B-B14F-4D97-AF65-F5344CB8AC3E}">
        <p14:creationId xmlns:p14="http://schemas.microsoft.com/office/powerpoint/2010/main" val="2034760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6586" b="-20295"/>
          <a:stretch/>
        </p:blipFill>
        <p:spPr>
          <a:xfrm>
            <a:off x="0" y="0"/>
            <a:ext cx="2840019" cy="5862918"/>
          </a:xfrm>
          <a:prstGeom prst="rect">
            <a:avLst/>
          </a:prstGeom>
        </p:spPr>
      </p:pic>
    </p:spTree>
    <p:extLst>
      <p:ext uri="{BB962C8B-B14F-4D97-AF65-F5344CB8AC3E}">
        <p14:creationId xmlns:p14="http://schemas.microsoft.com/office/powerpoint/2010/main" val="8572176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a:off x="0" y="0"/>
            <a:ext cx="2840019" cy="5862918"/>
          </a:xfrm>
          <a:prstGeom prst="rect">
            <a:avLst/>
          </a:prstGeom>
        </p:spPr>
      </p:pic>
    </p:spTree>
    <p:extLst>
      <p:ext uri="{BB962C8B-B14F-4D97-AF65-F5344CB8AC3E}">
        <p14:creationId xmlns:p14="http://schemas.microsoft.com/office/powerpoint/2010/main" val="1625376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flipH="1">
            <a:off x="9351981" y="0"/>
            <a:ext cx="2840019" cy="5862918"/>
          </a:xfrm>
          <a:prstGeom prst="rect">
            <a:avLst/>
          </a:prstGeom>
        </p:spPr>
      </p:pic>
    </p:spTree>
    <p:extLst>
      <p:ext uri="{BB962C8B-B14F-4D97-AF65-F5344CB8AC3E}">
        <p14:creationId xmlns:p14="http://schemas.microsoft.com/office/powerpoint/2010/main" val="22170332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flipH="1">
            <a:off x="0" y="0"/>
            <a:ext cx="5671457" cy="3193277"/>
          </a:xfrm>
          <a:prstGeom prst="rect">
            <a:avLst/>
          </a:prstGeom>
        </p:spPr>
      </p:pic>
    </p:spTree>
    <p:extLst>
      <p:ext uri="{BB962C8B-B14F-4D97-AF65-F5344CB8AC3E}">
        <p14:creationId xmlns:p14="http://schemas.microsoft.com/office/powerpoint/2010/main" val="1131605559"/>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C1D4F9E-3D5B-5D64-BA24-7989A46F1AF1}"/>
              </a:ext>
            </a:extLst>
          </p:cNvPr>
          <p:cNvSpPr>
            <a:spLocks noGrp="1"/>
          </p:cNvSpPr>
          <p:nvPr>
            <p:ph type="ftr" sz="quarter" idx="11"/>
          </p:nvPr>
        </p:nvSpPr>
        <p:spPr/>
        <p:txBody>
          <a:bodyPr/>
          <a:lstStyle>
            <a:lvl1pPr>
              <a:defRPr/>
            </a:lvl1pPr>
          </a:lstStyle>
          <a:p>
            <a:pPr>
              <a:defRPr/>
            </a:pPr>
            <a:r>
              <a:rPr lang="en-IN"/>
              <a:t>Microsoft Confidential–Internal Only</a:t>
            </a:r>
          </a:p>
        </p:txBody>
      </p:sp>
      <p:sp>
        <p:nvSpPr>
          <p:cNvPr id="3" name="Slide Number Placeholder 5">
            <a:extLst>
              <a:ext uri="{FF2B5EF4-FFF2-40B4-BE49-F238E27FC236}">
                <a16:creationId xmlns:a16="http://schemas.microsoft.com/office/drawing/2014/main" id="{813CC769-9046-D715-EE31-D61D965914B0}"/>
              </a:ext>
            </a:extLst>
          </p:cNvPr>
          <p:cNvSpPr>
            <a:spLocks noGrp="1"/>
          </p:cNvSpPr>
          <p:nvPr>
            <p:ph type="sldNum" sz="quarter" idx="12"/>
          </p:nvPr>
        </p:nvSpPr>
        <p:spPr/>
        <p:txBody>
          <a:bodyPr/>
          <a:lstStyle>
            <a:lvl1pPr>
              <a:defRPr/>
            </a:lvl1pPr>
          </a:lstStyle>
          <a:p>
            <a:pPr>
              <a:defRPr/>
            </a:pPr>
            <a:fld id="{2FF8131C-5610-8B47-A47C-619DDB744FE1}" type="slidenum">
              <a:rPr lang="en-IN"/>
              <a:pPr>
                <a:defRPr/>
              </a:pPr>
              <a:t>‹#›</a:t>
            </a:fld>
            <a:endParaRPr lang="en-IN"/>
          </a:p>
        </p:txBody>
      </p:sp>
      <p:pic>
        <p:nvPicPr>
          <p:cNvPr id="5" name="Picture 4" descr="A close up of a jellyfish&#10;&#10;Description automatically generated with low confidence">
            <a:extLst>
              <a:ext uri="{FF2B5EF4-FFF2-40B4-BE49-F238E27FC236}">
                <a16:creationId xmlns:a16="http://schemas.microsoft.com/office/drawing/2014/main" id="{7243609A-36AD-717F-E0B4-594D21A9C3C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37205467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74963"/>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spTree>
    <p:extLst>
      <p:ext uri="{BB962C8B-B14F-4D97-AF65-F5344CB8AC3E}">
        <p14:creationId xmlns:p14="http://schemas.microsoft.com/office/powerpoint/2010/main" val="22909965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ection 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53A46E-C8B2-07FC-6842-6E29F4237B20}"/>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chemeClr val="bg1"/>
                </a:solidFill>
                <a:latin typeface="Segoe Sans Display" pitchFamily="2" charset="0"/>
                <a:cs typeface="Segoe Sans Display" pitchFamily="2" charset="0"/>
              </a:defRPr>
            </a:lvl1pPr>
          </a:lstStyle>
          <a:p>
            <a:pPr marL="228600" lvl="0" indent="-228600"/>
            <a:r>
              <a:rPr lang="en-US" dirty="0"/>
              <a:t>Section title one</a:t>
            </a:r>
          </a:p>
        </p:txBody>
      </p:sp>
    </p:spTree>
    <p:extLst>
      <p:ext uri="{BB962C8B-B14F-4D97-AF65-F5344CB8AC3E}">
        <p14:creationId xmlns:p14="http://schemas.microsoft.com/office/powerpoint/2010/main" val="5903666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C8382A5-B5EC-BD6F-0FDE-9FD2C26B5992}"/>
              </a:ext>
            </a:extLst>
          </p:cNvPr>
          <p:cNvGrpSpPr/>
          <p:nvPr userDrawn="1"/>
        </p:nvGrpSpPr>
        <p:grpSpPr>
          <a:xfrm>
            <a:off x="0" y="0"/>
            <a:ext cx="12192000" cy="6858000"/>
            <a:chOff x="0" y="0"/>
            <a:chExt cx="12192000" cy="6858000"/>
          </a:xfrm>
        </p:grpSpPr>
        <p:pic>
          <p:nvPicPr>
            <p:cNvPr id="4" name="Picture 3" descr="A blue and pink background&#10;&#10;Description automatically generated">
              <a:extLst>
                <a:ext uri="{FF2B5EF4-FFF2-40B4-BE49-F238E27FC236}">
                  <a16:creationId xmlns:a16="http://schemas.microsoft.com/office/drawing/2014/main" id="{5577440D-7788-84BF-5756-ED6D319F1BE9}"/>
                </a:ext>
              </a:extLst>
            </p:cNvPr>
            <p:cNvPicPr>
              <a:picLocks noChangeAspect="1"/>
            </p:cNvPicPr>
            <p:nvPr/>
          </p:nvPicPr>
          <p:blipFill>
            <a:blip r:embed="rId2">
              <a:alphaModFix amt="46000"/>
              <a:extLst>
                <a:ext uri="{BEBA8EAE-BF5A-486C-A8C5-ECC9F3942E4B}">
                  <a14:imgProps xmlns:a14="http://schemas.microsoft.com/office/drawing/2010/main">
                    <a14:imgLayer r:embed="rId3">
                      <a14:imgEffect>
                        <a14:sharpenSoften amount="-50000"/>
                      </a14:imgEffect>
                      <a14:imgEffect>
                        <a14:colorTemperature colorTemp="6400"/>
                      </a14:imgEffect>
                      <a14:imgEffect>
                        <a14:saturation sat="990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1C6150FD-F986-90DA-1F16-0CBE035F98AA}"/>
                </a:ext>
              </a:extLst>
            </p:cNvPr>
            <p:cNvSpPr/>
            <p:nvPr/>
          </p:nvSpPr>
          <p:spPr bwMode="auto">
            <a:xfrm>
              <a:off x="0" y="0"/>
              <a:ext cx="12192000" cy="6858000"/>
            </a:xfrm>
            <a:prstGeom prst="rect">
              <a:avLst/>
            </a:prstGeom>
            <a:gradFill flip="none" rotWithShape="1">
              <a:gsLst>
                <a:gs pos="100000">
                  <a:schemeClr val="bg1">
                    <a:alpha val="21000"/>
                  </a:schemeClr>
                </a:gs>
                <a:gs pos="81000">
                  <a:schemeClr val="bg1">
                    <a:alpha val="6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781652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DF9"/>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BF18DD5-394A-4676-966A-43A5BAC6E006}"/>
              </a:ext>
            </a:extLst>
          </p:cNvPr>
          <p:cNvSpPr>
            <a:spLocks noGrp="1"/>
          </p:cNvSpPr>
          <p:nvPr>
            <p:ph type="ftr" sz="quarter" idx="10"/>
          </p:nvPr>
        </p:nvSpPr>
        <p:spPr/>
        <p:txBody>
          <a:bodyPr/>
          <a:lstStyle/>
          <a:p>
            <a:r>
              <a:rPr lang="en-US"/>
              <a:t>Microsoft Purview</a:t>
            </a:r>
          </a:p>
        </p:txBody>
      </p:sp>
      <p:sp>
        <p:nvSpPr>
          <p:cNvPr id="7" name="Slide Number Placeholder 6">
            <a:extLst>
              <a:ext uri="{FF2B5EF4-FFF2-40B4-BE49-F238E27FC236}">
                <a16:creationId xmlns:a16="http://schemas.microsoft.com/office/drawing/2014/main" id="{2A399517-6D70-91AD-1227-F9D6955CDA7B}"/>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0" name="Title 9">
            <a:extLst>
              <a:ext uri="{FF2B5EF4-FFF2-40B4-BE49-F238E27FC236}">
                <a16:creationId xmlns:a16="http://schemas.microsoft.com/office/drawing/2014/main" id="{2536199F-AFBB-90E6-3138-4F79DE029AB5}"/>
              </a:ext>
            </a:extLst>
          </p:cNvPr>
          <p:cNvSpPr>
            <a:spLocks noGrp="1"/>
          </p:cNvSpPr>
          <p:nvPr>
            <p:ph type="title"/>
          </p:nvPr>
        </p:nvSpPr>
        <p:spPr>
          <a:xfrm>
            <a:off x="581025" y="365125"/>
            <a:ext cx="11029949" cy="549275"/>
          </a:xfrm>
        </p:spPr>
        <p:txBody>
          <a:bodyPr anchor="b">
            <a:noAutofit/>
          </a:bodyPr>
          <a:lstStyle/>
          <a:p>
            <a:r>
              <a:rPr lang="en-US"/>
              <a:t>Click to edit Master title style</a:t>
            </a:r>
          </a:p>
        </p:txBody>
      </p:sp>
      <p:pic>
        <p:nvPicPr>
          <p:cNvPr id="2" name="Picture 1" descr="A close up of a jellyfish&#10;&#10;Description automatically generated with low confidence">
            <a:extLst>
              <a:ext uri="{FF2B5EF4-FFF2-40B4-BE49-F238E27FC236}">
                <a16:creationId xmlns:a16="http://schemas.microsoft.com/office/drawing/2014/main" id="{34D1DF6D-FC7A-C5D0-48D8-C8E0A0336AEB}"/>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92067672"/>
      </p:ext>
    </p:extLst>
  </p:cSld>
  <p:clrMapOvr>
    <a:masterClrMapping/>
  </p:clrMapOvr>
  <p:transition>
    <p:fade/>
  </p:transition>
  <p:extLst>
    <p:ext uri="{DCECCB84-F9BA-43D5-87BE-67443E8EF086}">
      <p15:sldGuideLst xmlns:p15="http://schemas.microsoft.com/office/powerpoint/2012/main">
        <p15:guide id="10" pos="1967">
          <p15:clr>
            <a:srgbClr val="A4A3A4"/>
          </p15:clr>
        </p15:guide>
        <p15:guide id="18" pos="4343">
          <p15:clr>
            <a:srgbClr val="A4A3A4"/>
          </p15:clr>
        </p15:guide>
        <p15:guide id="19" pos="4526">
          <p15:clr>
            <a:srgbClr val="A4A3A4"/>
          </p15:clr>
        </p15:guide>
        <p15:guide id="21" pos="5120">
          <p15:clr>
            <a:srgbClr val="A4A3A4"/>
          </p15:clr>
        </p15:guide>
        <p15:guide id="25" pos="6308">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4_Large Number Divider 1">
    <p:bg>
      <p:bgPr>
        <a:solidFill>
          <a:srgbClr val="FFFFFF"/>
        </a:solidFill>
        <a:effectLst/>
      </p:bgPr>
    </p:bg>
    <p:spTree>
      <p:nvGrpSpPr>
        <p:cNvPr id="1" name=""/>
        <p:cNvGrpSpPr/>
        <p:nvPr/>
      </p:nvGrpSpPr>
      <p:grpSpPr>
        <a:xfrm>
          <a:off x="0" y="0"/>
          <a:ext cx="0" cy="0"/>
          <a:chOff x="0" y="0"/>
          <a:chExt cx="0" cy="0"/>
        </a:xfrm>
      </p:grpSpPr>
      <p:pic>
        <p:nvPicPr>
          <p:cNvPr id="2" name="Picture 1" descr="A purple circle in the dark&#10;&#10;Description automatically generated">
            <a:extLst>
              <a:ext uri="{FF2B5EF4-FFF2-40B4-BE49-F238E27FC236}">
                <a16:creationId xmlns:a16="http://schemas.microsoft.com/office/drawing/2014/main" id="{3CBEDED0-2F8D-60CB-73EC-D8A926F1B190}"/>
              </a:ext>
            </a:extLst>
          </p:cNvPr>
          <p:cNvPicPr>
            <a:picLocks noChangeAspect="1"/>
          </p:cNvPicPr>
          <p:nvPr userDrawn="1"/>
        </p:nvPicPr>
        <p:blipFill rotWithShape="1">
          <a:blip r:embed="rId2"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
        <p:nvSpPr>
          <p:cNvPr id="3" name="Slide Number Placeholder 5">
            <a:extLst>
              <a:ext uri="{FF2B5EF4-FFF2-40B4-BE49-F238E27FC236}">
                <a16:creationId xmlns:a16="http://schemas.microsoft.com/office/drawing/2014/main" id="{D451A2C5-1E75-8EE3-22E6-59C938C37DB8}"/>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4" name="Footer Placeholder 9">
            <a:extLst>
              <a:ext uri="{FF2B5EF4-FFF2-40B4-BE49-F238E27FC236}">
                <a16:creationId xmlns:a16="http://schemas.microsoft.com/office/drawing/2014/main" id="{7C14C3DD-159F-0E37-FA23-5C89134B7DDF}"/>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Purview</a:t>
            </a:r>
          </a:p>
        </p:txBody>
      </p:sp>
    </p:spTree>
    <p:extLst>
      <p:ext uri="{BB962C8B-B14F-4D97-AF65-F5344CB8AC3E}">
        <p14:creationId xmlns:p14="http://schemas.microsoft.com/office/powerpoint/2010/main" val="11182440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hank you slide_logo v1">
    <p:bg>
      <p:bgPr>
        <a:solidFill>
          <a:srgbClr val="FFFFFF"/>
        </a:solidFill>
        <a:effectLst/>
      </p:bgPr>
    </p:bg>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01B2829-96EF-EDD4-F5DC-8F6DFAFBCAD3}"/>
              </a:ext>
            </a:extLst>
          </p:cNvPr>
          <p:cNvSpPr>
            <a:spLocks noGrp="1"/>
          </p:cNvSpPr>
          <p:nvPr>
            <p:ph type="title" hasCustomPrompt="1"/>
          </p:nvPr>
        </p:nvSpPr>
        <p:spPr>
          <a:xfrm>
            <a:off x="607810" y="3423718"/>
            <a:ext cx="3252990" cy="527045"/>
          </a:xfrm>
        </p:spPr>
        <p:txBody>
          <a:bodyPr>
            <a:noAutofit/>
          </a:bodyPr>
          <a:lstStyle>
            <a:lvl1pPr algn="l">
              <a:defRPr sz="3600" b="0" i="0">
                <a:gradFill flip="none" rotWithShape="1">
                  <a:gsLst>
                    <a:gs pos="0">
                      <a:srgbClr val="49C5B1"/>
                    </a:gs>
                    <a:gs pos="82000">
                      <a:srgbClr val="8551C5"/>
                    </a:gs>
                  </a:gsLst>
                  <a:lin ang="10800000" scaled="1"/>
                  <a:tileRect/>
                </a:gradFill>
                <a:latin typeface="Segoe Sans Display" pitchFamily="2" charset="0"/>
                <a:cs typeface="Segoe Sans Display" pitchFamily="2" charset="0"/>
              </a:defRPr>
            </a:lvl1pPr>
          </a:lstStyle>
          <a:p>
            <a:r>
              <a:rPr lang="en-US"/>
              <a:t>Thank you</a:t>
            </a:r>
          </a:p>
        </p:txBody>
      </p:sp>
      <p:pic>
        <p:nvPicPr>
          <p:cNvPr id="2" name="Picture 4">
            <a:extLst>
              <a:ext uri="{FF2B5EF4-FFF2-40B4-BE49-F238E27FC236}">
                <a16:creationId xmlns:a16="http://schemas.microsoft.com/office/drawing/2014/main" id="{9CDA471C-44FF-1A4B-B9F4-35DBB6FB41A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pic>
        <p:nvPicPr>
          <p:cNvPr id="3" name="Picture 2" descr="A purple circle in the dark&#10;&#10;Description automatically generated">
            <a:extLst>
              <a:ext uri="{FF2B5EF4-FFF2-40B4-BE49-F238E27FC236}">
                <a16:creationId xmlns:a16="http://schemas.microsoft.com/office/drawing/2014/main" id="{4306B846-38BE-5723-8ACE-4C505C4C996B}"/>
              </a:ext>
            </a:extLst>
          </p:cNvPr>
          <p:cNvPicPr>
            <a:picLocks noChangeAspect="1"/>
          </p:cNvPicPr>
          <p:nvPr userDrawn="1"/>
        </p:nvPicPr>
        <p:blipFill rotWithShape="1">
          <a:blip r:embed="rId3"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Tree>
    <p:extLst>
      <p:ext uri="{BB962C8B-B14F-4D97-AF65-F5344CB8AC3E}">
        <p14:creationId xmlns:p14="http://schemas.microsoft.com/office/powerpoint/2010/main" val="2278546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015488541"/>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2846351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292087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b="-953"/>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07882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DF9"/>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9B5728-1D33-9E0D-152D-CDDC5FCE9D1C}"/>
              </a:ext>
            </a:extLst>
          </p:cNvPr>
          <p:cNvGraphicFramePr>
            <a:graphicFrameLocks noChangeAspect="1"/>
          </p:cNvGraphicFramePr>
          <p:nvPr userDrawn="1">
            <p:custDataLst>
              <p:tags r:id="rId22"/>
            </p:custDataLst>
            <p:extLst>
              <p:ext uri="{D42A27DB-BD31-4B8C-83A1-F6EECF244321}">
                <p14:modId xmlns:p14="http://schemas.microsoft.com/office/powerpoint/2010/main" val="1329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32" imgH="533" progId="TCLayout.ActiveDocument.1">
                  <p:embed/>
                </p:oleObj>
              </mc:Choice>
              <mc:Fallback>
                <p:oleObj name="think-cell Slide" r:id="rId23" imgW="532" imgH="533" progId="TCLayout.ActiveDocument.1">
                  <p:embed/>
                  <p:pic>
                    <p:nvPicPr>
                      <p:cNvPr id="4" name="think-cell data - do not delete" hidden="1">
                        <a:extLst>
                          <a:ext uri="{FF2B5EF4-FFF2-40B4-BE49-F238E27FC236}">
                            <a16:creationId xmlns:a16="http://schemas.microsoft.com/office/drawing/2014/main" id="{999B5728-1D33-9E0D-152D-CDDC5FCE9D1C}"/>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581025" y="365125"/>
            <a:ext cx="11029949" cy="828675"/>
          </a:xfrm>
          <a:prstGeom prst="rect">
            <a:avLst/>
          </a:prstGeom>
        </p:spPr>
        <p:txBody>
          <a:bodyPr vert="horz" lIns="0" tIns="0" rIns="0" bIns="0" rtlCol="0" anchor="ctr">
            <a:normAutofit/>
          </a:bodyPr>
          <a:lstStyle/>
          <a:p>
            <a:r>
              <a:rPr lang="en-US"/>
              <a:t>Title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12571" y="6309519"/>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11859" y="6309519"/>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Purview</a:t>
            </a:r>
          </a:p>
        </p:txBody>
      </p:sp>
      <p:sp>
        <p:nvSpPr>
          <p:cNvPr id="8" name="TextBox 7">
            <a:extLst>
              <a:ext uri="{FF2B5EF4-FFF2-40B4-BE49-F238E27FC236}">
                <a16:creationId xmlns:a16="http://schemas.microsoft.com/office/drawing/2014/main" id="{D160E398-2D0F-4954-1796-3B6310DECA0C}"/>
              </a:ext>
            </a:extLst>
          </p:cNvPr>
          <p:cNvSpPr txBox="1"/>
          <p:nvPr userDrawn="1"/>
        </p:nvSpPr>
        <p:spPr>
          <a:xfrm>
            <a:off x="10445303" y="6383710"/>
            <a:ext cx="1746697" cy="307777"/>
          </a:xfrm>
          <a:prstGeom prst="rect">
            <a:avLst/>
          </a:prstGeom>
          <a:noFill/>
        </p:spPr>
        <p:txBody>
          <a:bodyPr wrap="none" rtlCol="0">
            <a:spAutoFit/>
          </a:bodyPr>
          <a:lstStyle/>
          <a:p>
            <a:r>
              <a:rPr lang="en-US" sz="1400" b="1" i="0">
                <a:solidFill>
                  <a:srgbClr val="666666"/>
                </a:solidFill>
                <a:latin typeface="Segoe Sans Display" pitchFamily="2" charset="0"/>
                <a:cs typeface="Segoe Sans Display" pitchFamily="2" charset="0"/>
              </a:rPr>
              <a:t>Microsoft Purview</a:t>
            </a:r>
          </a:p>
        </p:txBody>
      </p:sp>
    </p:spTree>
    <p:extLst>
      <p:ext uri="{BB962C8B-B14F-4D97-AF65-F5344CB8AC3E}">
        <p14:creationId xmlns:p14="http://schemas.microsoft.com/office/powerpoint/2010/main" val="2167567657"/>
      </p:ext>
    </p:extLst>
  </p:cSld>
  <p:clrMap bg1="lt1" tx1="dk1" bg2="lt2" tx2="dk2" accent1="accent1" accent2="accent2" accent3="accent3" accent4="accent4" accent5="accent5" accent6="accent6" hlink="hlink" folHlink="folHlink"/>
  <p:sldLayoutIdLst>
    <p:sldLayoutId id="2147484815" r:id="rId1"/>
    <p:sldLayoutId id="2147484688" r:id="rId2"/>
    <p:sldLayoutId id="2147484701" r:id="rId3"/>
    <p:sldLayoutId id="2147484718" r:id="rId4"/>
    <p:sldLayoutId id="2147484756" r:id="rId5"/>
    <p:sldLayoutId id="2147484803" r:id="rId6"/>
    <p:sldLayoutId id="2147484804" r:id="rId7"/>
    <p:sldLayoutId id="2147484805" r:id="rId8"/>
    <p:sldLayoutId id="2147484806" r:id="rId9"/>
    <p:sldLayoutId id="2147484807" r:id="rId10"/>
    <p:sldLayoutId id="2147484808" r:id="rId11"/>
    <p:sldLayoutId id="2147484809" r:id="rId12"/>
    <p:sldLayoutId id="2147484810" r:id="rId13"/>
    <p:sldLayoutId id="2147484811" r:id="rId14"/>
    <p:sldLayoutId id="2147484812" r:id="rId15"/>
    <p:sldLayoutId id="2147484813" r:id="rId16"/>
    <p:sldLayoutId id="2147484814" r:id="rId17"/>
    <p:sldLayoutId id="2147484816" r:id="rId18"/>
    <p:sldLayoutId id="2147484817" r:id="rId19"/>
    <p:sldLayoutId id="2147484818" r:id="rId20"/>
  </p:sldLayoutIdLs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9">
          <p15:clr>
            <a:srgbClr val="F26B43"/>
          </p15:clr>
        </p15:guide>
        <p15:guide id="2" pos="366">
          <p15:clr>
            <a:srgbClr val="F26B43"/>
          </p15:clr>
        </p15:guide>
        <p15:guide id="4" pos="7314">
          <p15:clr>
            <a:srgbClr val="F26B43"/>
          </p15:clr>
        </p15:guide>
        <p15:guide id="5" orient="horz" pos="576">
          <p15:clr>
            <a:srgbClr val="F26B43"/>
          </p15:clr>
        </p15:guide>
        <p15:guide id="6" orient="horz" pos="760">
          <p15:clr>
            <a:srgbClr val="F26B43"/>
          </p15:clr>
        </p15:guide>
        <p15:guide id="7" orient="horz" pos="1070">
          <p15:clr>
            <a:srgbClr val="F26B43"/>
          </p15:clr>
        </p15:guide>
        <p15:guide id="8" orient="horz" pos="3973">
          <p15:clr>
            <a:srgbClr val="F26B43"/>
          </p15:clr>
        </p15:guide>
        <p15:guide id="9" pos="1968">
          <p15:clr>
            <a:srgbClr val="A4A3A4"/>
          </p15:clr>
        </p15:guide>
        <p15:guide id="10" pos="2148">
          <p15:clr>
            <a:srgbClr val="A4A3A4"/>
          </p15:clr>
        </p15:guide>
        <p15:guide id="11" pos="3750">
          <p15:clr>
            <a:srgbClr val="A4A3A4"/>
          </p15:clr>
        </p15:guide>
        <p15:guide id="12" pos="3930">
          <p15:clr>
            <a:srgbClr val="A4A3A4"/>
          </p15:clr>
        </p15:guide>
        <p15:guide id="13" pos="5532">
          <p15:clr>
            <a:srgbClr val="A4A3A4"/>
          </p15:clr>
        </p15:guide>
        <p15:guide id="14" pos="5712">
          <p15:clr>
            <a:srgbClr val="A4A3A4"/>
          </p15:clr>
        </p15:guide>
        <p15:guide id="15" pos="7496">
          <p15:clr>
            <a:srgbClr val="A4A3A4"/>
          </p15:clr>
        </p15:guide>
        <p15:guide id="16" pos="186">
          <p15:clr>
            <a:srgbClr val="A4A3A4"/>
          </p15:clr>
        </p15:guide>
        <p15:guide id="17" pos="780">
          <p15:clr>
            <a:srgbClr val="A4A3A4"/>
          </p15:clr>
        </p15:guide>
        <p15:guide id="18" pos="957">
          <p15:clr>
            <a:srgbClr val="A4A3A4"/>
          </p15:clr>
        </p15:guide>
        <p15:guide id="19" pos="1374">
          <p15:clr>
            <a:srgbClr val="A4A3A4"/>
          </p15:clr>
        </p15:guide>
        <p15:guide id="20" pos="1554">
          <p15:clr>
            <a:srgbClr val="A4A3A4"/>
          </p15:clr>
        </p15:guide>
        <p15:guide id="21" pos="2562">
          <p15:clr>
            <a:srgbClr val="A4A3A4"/>
          </p15:clr>
        </p15:guide>
        <p15:guide id="22" pos="2739">
          <p15:clr>
            <a:srgbClr val="A4A3A4"/>
          </p15:clr>
        </p15:guide>
        <p15:guide id="23" pos="3156">
          <p15:clr>
            <a:srgbClr val="A4A3A4"/>
          </p15:clr>
        </p15:guide>
        <p15:guide id="24" pos="3336">
          <p15:clr>
            <a:srgbClr val="A4A3A4"/>
          </p15:clr>
        </p15:guide>
        <p15:guide id="25" pos="4344">
          <p15:clr>
            <a:srgbClr val="A4A3A4"/>
          </p15:clr>
        </p15:guide>
        <p15:guide id="26" pos="4526">
          <p15:clr>
            <a:srgbClr val="A4A3A4"/>
          </p15:clr>
        </p15:guide>
        <p15:guide id="27" pos="4938">
          <p15:clr>
            <a:srgbClr val="A4A3A4"/>
          </p15:clr>
        </p15:guide>
        <p15:guide id="28" pos="5120">
          <p15:clr>
            <a:srgbClr val="A4A3A4"/>
          </p15:clr>
        </p15:guide>
        <p15:guide id="29" pos="6126">
          <p15:clr>
            <a:srgbClr val="A4A3A4"/>
          </p15:clr>
        </p15:guide>
        <p15:guide id="30" pos="6308">
          <p15:clr>
            <a:srgbClr val="A4A3A4"/>
          </p15:clr>
        </p15:guide>
        <p15:guide id="31" pos="6720">
          <p15:clr>
            <a:srgbClr val="A4A3A4"/>
          </p15:clr>
        </p15:guide>
        <p15:guide id="32" pos="690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hyperlink" Target="https://medium.com/azure-data-lake/connecting-your-own-hadoop-or-spark-to-azure-data-lake-store-93d426d6a5f4" TargetMode="External"/><Relationship Id="rId13" Type="http://schemas.openxmlformats.org/officeDocument/2006/relationships/image" Target="../media/image24.jpeg"/><Relationship Id="rId3" Type="http://schemas.openxmlformats.org/officeDocument/2006/relationships/image" Target="../media/image15.jpeg"/><Relationship Id="rId7" Type="http://schemas.openxmlformats.org/officeDocument/2006/relationships/image" Target="../media/image19.png"/><Relationship Id="rId12" Type="http://schemas.openxmlformats.org/officeDocument/2006/relationships/image" Target="../media/image23.png"/><Relationship Id="rId2" Type="http://schemas.openxmlformats.org/officeDocument/2006/relationships/notesSlide" Target="../notesSlides/notesSlide10.xml"/><Relationship Id="rId16"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18.png"/><Relationship Id="rId11" Type="http://schemas.openxmlformats.org/officeDocument/2006/relationships/image" Target="../media/image22.png"/><Relationship Id="rId5" Type="http://schemas.openxmlformats.org/officeDocument/2006/relationships/image" Target="../media/image17.jpeg"/><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image" Target="../media/image16.jpeg"/><Relationship Id="rId9" Type="http://schemas.openxmlformats.org/officeDocument/2006/relationships/image" Target="../media/image20.png"/><Relationship Id="rId14" Type="http://schemas.openxmlformats.org/officeDocument/2006/relationships/image" Target="../media/image25.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image" Target="../media/image31.svg"/><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Layout" Target="../slideLayouts/slideLayout11.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svg"/><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 Id="rId14" Type="http://schemas.openxmlformats.org/officeDocument/2006/relationships/image" Target="../media/image4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hyperlink" Target="https://learn.microsoft.com/en-us/purview/data-governance-free-version-upgrade-to-enterprise" TargetMode="Externa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hyperlink" Target="https://portal.azure.com/" TargetMode="Externa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hyperlink" Target="https://learn.microsoft.com/en-us/purview/data-governance-private-endpoints" TargetMode="External"/><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hyperlink" Target="https://www.forrester.com/report/map-a-path-to-federated-data-governance/RES178947"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40CB8A5C-7978-D6DF-6BCB-6AA6077897C3}"/>
              </a:ext>
            </a:extLst>
          </p:cNvPr>
          <p:cNvSpPr>
            <a:spLocks noGrp="1"/>
          </p:cNvSpPr>
          <p:nvPr>
            <p:ph type="title" idx="4294967295"/>
          </p:nvPr>
        </p:nvSpPr>
        <p:spPr>
          <a:xfrm>
            <a:off x="6620523" y="1711795"/>
            <a:ext cx="5214125" cy="2032000"/>
          </a:xfrm>
        </p:spPr>
        <p:txBody>
          <a:bodyPr>
            <a:normAutofit fontScale="90000"/>
          </a:bodyPr>
          <a:lstStyle/>
          <a:p>
            <a:r>
              <a:rPr lang="en-GB" b="1" dirty="0"/>
              <a:t>Governance</a:t>
            </a:r>
            <a:r>
              <a:rPr lang="en-GB" dirty="0"/>
              <a:t> and Compliance with Microsoft Purview</a:t>
            </a:r>
            <a:br>
              <a:rPr lang="en-GB" dirty="0"/>
            </a:br>
            <a:br>
              <a:rPr lang="en-GB" dirty="0"/>
            </a:br>
            <a:r>
              <a:rPr lang="en-GB" dirty="0"/>
              <a:t>A getting started guide</a:t>
            </a:r>
            <a:br>
              <a:rPr lang="en-GB" dirty="0"/>
            </a:br>
            <a:r>
              <a:rPr lang="en-GB" b="1" i="1" dirty="0"/>
              <a:t>Setup</a:t>
            </a:r>
            <a:endParaRPr lang="en-US" b="1" i="1" dirty="0"/>
          </a:p>
        </p:txBody>
      </p:sp>
      <p:sp>
        <p:nvSpPr>
          <p:cNvPr id="2" name="TextBox 1">
            <a:extLst>
              <a:ext uri="{FF2B5EF4-FFF2-40B4-BE49-F238E27FC236}">
                <a16:creationId xmlns:a16="http://schemas.microsoft.com/office/drawing/2014/main" id="{C0FE63F7-CA11-EE0D-34D2-1201EFE93977}"/>
              </a:ext>
            </a:extLst>
          </p:cNvPr>
          <p:cNvSpPr txBox="1"/>
          <p:nvPr/>
        </p:nvSpPr>
        <p:spPr>
          <a:xfrm>
            <a:off x="6510824" y="4254747"/>
            <a:ext cx="4169283" cy="923330"/>
          </a:xfrm>
          <a:prstGeom prst="rect">
            <a:avLst/>
          </a:prstGeom>
          <a:noFill/>
        </p:spPr>
        <p:txBody>
          <a:bodyPr wrap="none" rtlCol="0">
            <a:spAutoFit/>
          </a:bodyPr>
          <a:lstStyle/>
          <a:p>
            <a:r>
              <a:rPr lang="en-US" dirty="0"/>
              <a:t>Jan Cordtz, Snr. Cloud Solution Architect</a:t>
            </a:r>
          </a:p>
          <a:p>
            <a:r>
              <a:rPr lang="en-US" dirty="0"/>
              <a:t>Microsoft Denmark</a:t>
            </a:r>
          </a:p>
          <a:p>
            <a:endParaRPr lang="en-DK"/>
          </a:p>
        </p:txBody>
      </p:sp>
      <p:sp>
        <p:nvSpPr>
          <p:cNvPr id="3" name="TextBox 2">
            <a:extLst>
              <a:ext uri="{FF2B5EF4-FFF2-40B4-BE49-F238E27FC236}">
                <a16:creationId xmlns:a16="http://schemas.microsoft.com/office/drawing/2014/main" id="{59F8D2DC-C8B4-6322-2C43-B0CC81930541}"/>
              </a:ext>
            </a:extLst>
          </p:cNvPr>
          <p:cNvSpPr txBox="1"/>
          <p:nvPr/>
        </p:nvSpPr>
        <p:spPr>
          <a:xfrm>
            <a:off x="622852" y="2913935"/>
            <a:ext cx="4018472" cy="646331"/>
          </a:xfrm>
          <a:prstGeom prst="rect">
            <a:avLst/>
          </a:prstGeom>
          <a:noFill/>
        </p:spPr>
        <p:txBody>
          <a:bodyPr wrap="none" rtlCol="0">
            <a:spAutoFit/>
          </a:bodyPr>
          <a:lstStyle/>
          <a:p>
            <a:r>
              <a:rPr lang="en-GB" b="1" dirty="0">
                <a:solidFill>
                  <a:schemeClr val="bg1"/>
                </a:solidFill>
              </a:rPr>
              <a:t>If you think compliance is complicated,</a:t>
            </a:r>
            <a:br>
              <a:rPr lang="en-GB" b="1" dirty="0">
                <a:solidFill>
                  <a:schemeClr val="bg1"/>
                </a:solidFill>
              </a:rPr>
            </a:br>
            <a:r>
              <a:rPr lang="en-GB" b="1" dirty="0">
                <a:solidFill>
                  <a:schemeClr val="bg1"/>
                </a:solidFill>
              </a:rPr>
              <a:t>feel free to try incompliance!</a:t>
            </a:r>
            <a:endParaRPr lang="en-DK" b="1">
              <a:solidFill>
                <a:schemeClr val="bg1"/>
              </a:solidFill>
            </a:endParaRPr>
          </a:p>
        </p:txBody>
      </p:sp>
      <p:pic>
        <p:nvPicPr>
          <p:cNvPr id="4" name="Picture 3">
            <a:extLst>
              <a:ext uri="{FF2B5EF4-FFF2-40B4-BE49-F238E27FC236}">
                <a16:creationId xmlns:a16="http://schemas.microsoft.com/office/drawing/2014/main" id="{F8F21A6C-97B1-2888-CE88-F83D203B392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r="-3390"/>
          <a:stretch/>
        </p:blipFill>
        <p:spPr>
          <a:xfrm>
            <a:off x="8595466" y="6211544"/>
            <a:ext cx="1566909" cy="544002"/>
          </a:xfrm>
          <a:prstGeom prst="rect">
            <a:avLst/>
          </a:prstGeom>
        </p:spPr>
      </p:pic>
      <p:cxnSp>
        <p:nvCxnSpPr>
          <p:cNvPr id="5" name="Straight Connector 4">
            <a:extLst>
              <a:ext uri="{FF2B5EF4-FFF2-40B4-BE49-F238E27FC236}">
                <a16:creationId xmlns:a16="http://schemas.microsoft.com/office/drawing/2014/main" id="{5215BF0C-A693-8110-B0D8-35654CBC84D2}"/>
              </a:ext>
            </a:extLst>
          </p:cNvPr>
          <p:cNvCxnSpPr/>
          <p:nvPr/>
        </p:nvCxnSpPr>
        <p:spPr>
          <a:xfrm>
            <a:off x="10299391" y="6292598"/>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AE45D75-77AE-3079-FFC7-8EBA288E263F}"/>
              </a:ext>
            </a:extLst>
          </p:cNvPr>
          <p:cNvSpPr txBox="1"/>
          <p:nvPr/>
        </p:nvSpPr>
        <p:spPr>
          <a:xfrm>
            <a:off x="531412" y="5872558"/>
            <a:ext cx="6193811" cy="646331"/>
          </a:xfrm>
          <a:prstGeom prst="rect">
            <a:avLst/>
          </a:prstGeom>
          <a:noFill/>
        </p:spPr>
        <p:txBody>
          <a:bodyPr wrap="none" rtlCol="0">
            <a:spAutoFit/>
          </a:bodyPr>
          <a:lstStyle/>
          <a:p>
            <a:r>
              <a:rPr lang="en-US" dirty="0"/>
              <a:t>Note – in this document the name </a:t>
            </a:r>
            <a:r>
              <a:rPr lang="en-US" b="1" dirty="0"/>
              <a:t>Purview</a:t>
            </a:r>
            <a:r>
              <a:rPr lang="en-US" dirty="0"/>
              <a:t> – if not otherwise</a:t>
            </a:r>
          </a:p>
          <a:p>
            <a:r>
              <a:rPr lang="en-US" dirty="0"/>
              <a:t>stated - is used for the Data Governance part of Purview.</a:t>
            </a:r>
          </a:p>
        </p:txBody>
      </p:sp>
    </p:spTree>
    <p:extLst>
      <p:ext uri="{BB962C8B-B14F-4D97-AF65-F5344CB8AC3E}">
        <p14:creationId xmlns:p14="http://schemas.microsoft.com/office/powerpoint/2010/main" val="388661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Rounded Corners 102">
            <a:extLst>
              <a:ext uri="{FF2B5EF4-FFF2-40B4-BE49-F238E27FC236}">
                <a16:creationId xmlns:a16="http://schemas.microsoft.com/office/drawing/2014/main" id="{4DC8FC5D-69A3-9B1A-944E-21323A7BD0FF}"/>
              </a:ext>
            </a:extLst>
          </p:cNvPr>
          <p:cNvSpPr/>
          <p:nvPr/>
        </p:nvSpPr>
        <p:spPr bwMode="auto">
          <a:xfrm>
            <a:off x="450439" y="1721693"/>
            <a:ext cx="11291122" cy="4679107"/>
          </a:xfrm>
          <a:prstGeom prst="roundRect">
            <a:avLst>
              <a:gd name="adj" fmla="val 5467"/>
            </a:avLst>
          </a:prstGeom>
          <a:noFill/>
          <a:ln w="25400" cap="rnd">
            <a:solidFill>
              <a:schemeClr val="bg1">
                <a:lumMod val="85000"/>
              </a:schemeClr>
            </a:solidFill>
            <a:prstDash val="sysDot"/>
            <a:headEnd type="none" w="med" len="med"/>
            <a:tailEnd type="none" w="med" len="med"/>
          </a:ln>
          <a:effectLst>
            <a:innerShdw blurRad="114300">
              <a:prstClr val="black">
                <a:alpha val="10000"/>
              </a:prstClr>
            </a:innerShdw>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defTabSz="932472" eaLnBrk="1" hangingPunct="1">
              <a:defRPr/>
            </a:pPr>
            <a:endParaRPr lang="en-GB" sz="2000" dirty="0">
              <a:solidFill>
                <a:srgbClr val="FFFFFF"/>
              </a:solidFill>
              <a:cs typeface="Segoe UI" pitchFamily="34" charset="0"/>
            </a:endParaRPr>
          </a:p>
        </p:txBody>
      </p:sp>
      <p:sp>
        <p:nvSpPr>
          <p:cNvPr id="25" name="TextBox 24">
            <a:extLst>
              <a:ext uri="{FF2B5EF4-FFF2-40B4-BE49-F238E27FC236}">
                <a16:creationId xmlns:a16="http://schemas.microsoft.com/office/drawing/2014/main" id="{E2765698-CC6D-C0E0-E189-E2D250901072}"/>
              </a:ext>
            </a:extLst>
          </p:cNvPr>
          <p:cNvSpPr>
            <a:spLocks noChangeArrowheads="1"/>
          </p:cNvSpPr>
          <p:nvPr/>
        </p:nvSpPr>
        <p:spPr bwMode="auto">
          <a:xfrm>
            <a:off x="2538413" y="5842000"/>
            <a:ext cx="7080250" cy="647700"/>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spAutoFit/>
          </a:bodyPr>
          <a:lstStyle>
            <a:lvl1pPr defTabSz="931863">
              <a:defRPr>
                <a:solidFill>
                  <a:schemeClr val="tx1"/>
                </a:solidFill>
                <a:latin typeface="Segoe UI" panose="020B0502040204020203" pitchFamily="34" charset="0"/>
              </a:defRPr>
            </a:lvl1pPr>
            <a:lvl2pPr marL="742950" indent="-285750" defTabSz="931863">
              <a:defRPr>
                <a:solidFill>
                  <a:schemeClr val="tx1"/>
                </a:solidFill>
                <a:latin typeface="Segoe UI" panose="020B0502040204020203" pitchFamily="34" charset="0"/>
              </a:defRPr>
            </a:lvl2pPr>
            <a:lvl3pPr marL="1143000" indent="-228600" defTabSz="931863">
              <a:defRPr>
                <a:solidFill>
                  <a:schemeClr val="tx1"/>
                </a:solidFill>
                <a:latin typeface="Segoe UI" panose="020B0502040204020203" pitchFamily="34" charset="0"/>
              </a:defRPr>
            </a:lvl3pPr>
            <a:lvl4pPr marL="1600200" indent="-228600" defTabSz="931863">
              <a:defRPr>
                <a:solidFill>
                  <a:schemeClr val="tx1"/>
                </a:solidFill>
                <a:latin typeface="Segoe UI" panose="020B0502040204020203" pitchFamily="34" charset="0"/>
              </a:defRPr>
            </a:lvl4pPr>
            <a:lvl5pPr marL="2057400" indent="-228600" defTabSz="931863">
              <a:defRPr>
                <a:solidFill>
                  <a:schemeClr val="tx1"/>
                </a:solidFill>
                <a:latin typeface="Segoe UI" panose="020B0502040204020203" pitchFamily="34" charset="0"/>
              </a:defRPr>
            </a:lvl5pPr>
            <a:lvl6pPr marL="2514600" indent="-228600" defTabSz="931863" fontAlgn="base">
              <a:spcBef>
                <a:spcPct val="0"/>
              </a:spcBef>
              <a:spcAft>
                <a:spcPct val="0"/>
              </a:spcAft>
              <a:defRPr>
                <a:solidFill>
                  <a:schemeClr val="tx1"/>
                </a:solidFill>
                <a:latin typeface="Segoe UI" panose="020B0502040204020203" pitchFamily="34" charset="0"/>
              </a:defRPr>
            </a:lvl6pPr>
            <a:lvl7pPr marL="2971800" indent="-228600" defTabSz="931863" fontAlgn="base">
              <a:spcBef>
                <a:spcPct val="0"/>
              </a:spcBef>
              <a:spcAft>
                <a:spcPct val="0"/>
              </a:spcAft>
              <a:defRPr>
                <a:solidFill>
                  <a:schemeClr val="tx1"/>
                </a:solidFill>
                <a:latin typeface="Segoe UI" panose="020B0502040204020203" pitchFamily="34" charset="0"/>
              </a:defRPr>
            </a:lvl7pPr>
            <a:lvl8pPr marL="3429000" indent="-228600" defTabSz="931863" fontAlgn="base">
              <a:spcBef>
                <a:spcPct val="0"/>
              </a:spcBef>
              <a:spcAft>
                <a:spcPct val="0"/>
              </a:spcAft>
              <a:defRPr>
                <a:solidFill>
                  <a:schemeClr val="tx1"/>
                </a:solidFill>
                <a:latin typeface="Segoe UI" panose="020B0502040204020203" pitchFamily="34" charset="0"/>
              </a:defRPr>
            </a:lvl8pPr>
            <a:lvl9pPr marL="3886200" indent="-228600" defTabSz="93186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dirty="0">
                <a:solidFill>
                  <a:srgbClr val="000000"/>
                </a:solidFill>
                <a:latin typeface="Segoe UI Semibold" panose="020B0502040204020203" pitchFamily="34" charset="0"/>
              </a:rPr>
              <a:t>Shared platform capabilities</a:t>
            </a:r>
          </a:p>
          <a:p>
            <a:pPr algn="ctr" eaLnBrk="1" hangingPunct="1"/>
            <a:r>
              <a:rPr lang="en-US" altLang="en-US" sz="1400" dirty="0">
                <a:solidFill>
                  <a:srgbClr val="000000"/>
                </a:solidFill>
              </a:rPr>
              <a:t>AI-based efficiency, Discovery, Classification, Labels, Rules, Policies, Data Connectors</a:t>
            </a:r>
          </a:p>
        </p:txBody>
      </p:sp>
      <p:cxnSp>
        <p:nvCxnSpPr>
          <p:cNvPr id="26" name="Connector: Elbow 25">
            <a:extLst>
              <a:ext uri="{FF2B5EF4-FFF2-40B4-BE49-F238E27FC236}">
                <a16:creationId xmlns:a16="http://schemas.microsoft.com/office/drawing/2014/main" id="{578367E8-6E01-EF81-2DDD-DEFC78A0A323}"/>
              </a:ext>
            </a:extLst>
          </p:cNvPr>
          <p:cNvCxnSpPr>
            <a:cxnSpLocks/>
            <a:stCxn id="25" idx="3"/>
          </p:cNvCxnSpPr>
          <p:nvPr/>
        </p:nvCxnSpPr>
        <p:spPr>
          <a:xfrm flipV="1">
            <a:off x="9618663" y="5407025"/>
            <a:ext cx="1941512" cy="758825"/>
          </a:xfrm>
          <a:prstGeom prst="bentConnector3">
            <a:avLst>
              <a:gd name="adj1" fmla="val 100018"/>
            </a:avLst>
          </a:prstGeom>
          <a:noFill/>
          <a:ln w="9525" cap="flat" cmpd="sng" algn="ctr">
            <a:solidFill>
              <a:schemeClr val="tx1">
                <a:lumMod val="50000"/>
                <a:lumOff val="50000"/>
              </a:schemeClr>
            </a:solidFill>
            <a:prstDash val="dash"/>
            <a:headEnd type="oval" w="med" len="med"/>
            <a:tailEnd type="oval" w="med" len="med"/>
          </a:ln>
          <a:effectLst/>
        </p:spPr>
      </p:cxnSp>
      <p:cxnSp>
        <p:nvCxnSpPr>
          <p:cNvPr id="27" name="Connector: Elbow 26">
            <a:extLst>
              <a:ext uri="{FF2B5EF4-FFF2-40B4-BE49-F238E27FC236}">
                <a16:creationId xmlns:a16="http://schemas.microsoft.com/office/drawing/2014/main" id="{4A59638A-4602-0C33-6FA5-9776285FA82F}"/>
              </a:ext>
            </a:extLst>
          </p:cNvPr>
          <p:cNvCxnSpPr>
            <a:cxnSpLocks/>
            <a:stCxn id="25" idx="1"/>
          </p:cNvCxnSpPr>
          <p:nvPr/>
        </p:nvCxnSpPr>
        <p:spPr>
          <a:xfrm rot="10800000">
            <a:off x="631825" y="5430838"/>
            <a:ext cx="1906588" cy="735012"/>
          </a:xfrm>
          <a:prstGeom prst="bentConnector3">
            <a:avLst>
              <a:gd name="adj1" fmla="val 100205"/>
            </a:avLst>
          </a:prstGeom>
          <a:noFill/>
          <a:ln w="9525" cap="flat" cmpd="sng" algn="ctr">
            <a:solidFill>
              <a:schemeClr val="tx1">
                <a:lumMod val="50000"/>
                <a:lumOff val="50000"/>
              </a:schemeClr>
            </a:solidFill>
            <a:prstDash val="dash"/>
            <a:headEnd type="oval" w="med" len="med"/>
            <a:tailEnd type="oval" w="med" len="med"/>
          </a:ln>
          <a:effectLst/>
        </p:spPr>
      </p:cxnSp>
      <p:grpSp>
        <p:nvGrpSpPr>
          <p:cNvPr id="41" name="Group 40">
            <a:extLst>
              <a:ext uri="{FF2B5EF4-FFF2-40B4-BE49-F238E27FC236}">
                <a16:creationId xmlns:a16="http://schemas.microsoft.com/office/drawing/2014/main" id="{786D4329-0B65-2054-C2BB-C8395FB09B02}"/>
              </a:ext>
            </a:extLst>
          </p:cNvPr>
          <p:cNvGrpSpPr>
            <a:grpSpLocks/>
          </p:cNvGrpSpPr>
          <p:nvPr/>
        </p:nvGrpSpPr>
        <p:grpSpPr bwMode="auto">
          <a:xfrm>
            <a:off x="731838" y="1936750"/>
            <a:ext cx="3481387" cy="2343150"/>
            <a:chOff x="732158" y="1936396"/>
            <a:chExt cx="3481388" cy="2343208"/>
          </a:xfrm>
        </p:grpSpPr>
        <p:sp>
          <p:nvSpPr>
            <p:cNvPr id="81945" name="Text Placeholder 2">
              <a:extLst>
                <a:ext uri="{FF2B5EF4-FFF2-40B4-BE49-F238E27FC236}">
                  <a16:creationId xmlns:a16="http://schemas.microsoft.com/office/drawing/2014/main" id="{9D9132B3-267F-BBC7-34A0-B30FDA90AE5D}"/>
                </a:ext>
              </a:extLst>
            </p:cNvPr>
            <p:cNvSpPr txBox="1">
              <a:spLocks noChangeArrowheads="1"/>
            </p:cNvSpPr>
            <p:nvPr/>
          </p:nvSpPr>
          <p:spPr bwMode="auto">
            <a:xfrm>
              <a:off x="812772" y="3463996"/>
              <a:ext cx="3387096"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en-US" altLang="en-US" sz="1600" dirty="0">
                  <a:solidFill>
                    <a:srgbClr val="000000"/>
                  </a:solidFill>
                  <a:latin typeface="Segoe UI Semibold" panose="020B0502040204020203" pitchFamily="34" charset="0"/>
                </a:rPr>
                <a:t>Data Loss Prevention </a:t>
              </a:r>
            </a:p>
            <a:p>
              <a:pPr algn="ctr" eaLnBrk="1" hangingPunct="1">
                <a:spcBef>
                  <a:spcPts val="300"/>
                </a:spcBef>
                <a:buFont typeface="Wingdings" pitchFamily="2" charset="2"/>
                <a:buNone/>
              </a:pPr>
              <a:r>
                <a:rPr lang="en-US" altLang="en-US" sz="1600" dirty="0">
                  <a:solidFill>
                    <a:srgbClr val="000000"/>
                  </a:solidFill>
                  <a:latin typeface="Segoe UI Semibold" panose="020B0502040204020203" pitchFamily="34" charset="0"/>
                </a:rPr>
                <a:t>Insider Risk Management </a:t>
              </a:r>
            </a:p>
            <a:p>
              <a:pPr algn="ctr" eaLnBrk="1" hangingPunct="1">
                <a:spcBef>
                  <a:spcPts val="300"/>
                </a:spcBef>
                <a:buFont typeface="Wingdings" pitchFamily="2" charset="2"/>
                <a:buNone/>
              </a:pPr>
              <a:r>
                <a:rPr lang="en-US" altLang="en-US" sz="1600" dirty="0">
                  <a:solidFill>
                    <a:srgbClr val="000000"/>
                  </a:solidFill>
                  <a:latin typeface="Segoe UI Semibold" panose="020B0502040204020203" pitchFamily="34" charset="0"/>
                </a:rPr>
                <a:t>Information Protection</a:t>
              </a:r>
            </a:p>
          </p:txBody>
        </p:sp>
        <p:sp>
          <p:nvSpPr>
            <p:cNvPr id="81946" name="TextBox 30">
              <a:extLst>
                <a:ext uri="{FF2B5EF4-FFF2-40B4-BE49-F238E27FC236}">
                  <a16:creationId xmlns:a16="http://schemas.microsoft.com/office/drawing/2014/main" id="{FD48B171-849D-D98D-6DD6-A9A84E21AF54}"/>
                </a:ext>
              </a:extLst>
            </p:cNvPr>
            <p:cNvSpPr txBox="1">
              <a:spLocks noChangeArrowheads="1"/>
            </p:cNvSpPr>
            <p:nvPr/>
          </p:nvSpPr>
          <p:spPr bwMode="auto">
            <a:xfrm>
              <a:off x="874302" y="2461520"/>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dirty="0">
                  <a:solidFill>
                    <a:srgbClr val="005A9F"/>
                  </a:solidFill>
                  <a:latin typeface="Segoe UI Semibold" panose="020B0502040204020203" pitchFamily="34" charset="0"/>
                  <a:cs typeface="Segoe UI" panose="020B0502040204020203" pitchFamily="34" charset="0"/>
                </a:rPr>
                <a:t>Secure data across its lifecycle, wherever it lives</a:t>
              </a:r>
            </a:p>
          </p:txBody>
        </p:sp>
        <p:sp>
          <p:nvSpPr>
            <p:cNvPr id="36" name="Freeform 39">
              <a:extLst>
                <a:ext uri="{FF2B5EF4-FFF2-40B4-BE49-F238E27FC236}">
                  <a16:creationId xmlns:a16="http://schemas.microsoft.com/office/drawing/2014/main" id="{78A4E54F-2AD0-9848-CA6E-A9F792434FD9}"/>
                </a:ext>
              </a:extLst>
            </p:cNvPr>
            <p:cNvSpPr/>
            <p:nvPr/>
          </p:nvSpPr>
          <p:spPr>
            <a:xfrm>
              <a:off x="732158" y="1936396"/>
              <a:ext cx="3481388" cy="401648"/>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dirty="0">
                  <a:solidFill>
                    <a:srgbClr val="FFFFFF"/>
                  </a:solidFill>
                  <a:latin typeface="Segoe UI Semibold"/>
                </a:rPr>
                <a:t>DATA SECURITY</a:t>
              </a:r>
            </a:p>
          </p:txBody>
        </p:sp>
        <p:cxnSp>
          <p:nvCxnSpPr>
            <p:cNvPr id="38" name="Straight Connector 37">
              <a:extLst>
                <a:ext uri="{FF2B5EF4-FFF2-40B4-BE49-F238E27FC236}">
                  <a16:creationId xmlns:a16="http://schemas.microsoft.com/office/drawing/2014/main" id="{57BCF43C-3918-8949-6BC2-3DDA03F8004D}"/>
                </a:ext>
              </a:extLst>
            </p:cNvPr>
            <p:cNvCxnSpPr>
              <a:cxnSpLocks/>
            </p:cNvCxnSpPr>
            <p:nvPr/>
          </p:nvCxnSpPr>
          <p:spPr>
            <a:xfrm>
              <a:off x="819470" y="3236591"/>
              <a:ext cx="330676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E5E72F27-E159-8E6D-80E9-7920D677053F}"/>
              </a:ext>
            </a:extLst>
          </p:cNvPr>
          <p:cNvGrpSpPr>
            <a:grpSpLocks/>
          </p:cNvGrpSpPr>
          <p:nvPr/>
        </p:nvGrpSpPr>
        <p:grpSpPr bwMode="auto">
          <a:xfrm>
            <a:off x="4357688" y="1936750"/>
            <a:ext cx="3481387" cy="2911476"/>
            <a:chOff x="4357450" y="1936396"/>
            <a:chExt cx="3481388" cy="2912594"/>
          </a:xfrm>
        </p:grpSpPr>
        <p:sp>
          <p:nvSpPr>
            <p:cNvPr id="81941" name="Text Placeholder 2">
              <a:extLst>
                <a:ext uri="{FF2B5EF4-FFF2-40B4-BE49-F238E27FC236}">
                  <a16:creationId xmlns:a16="http://schemas.microsoft.com/office/drawing/2014/main" id="{C74D7A62-F829-B9E9-E9AB-F4BCFE164022}"/>
                </a:ext>
              </a:extLst>
            </p:cNvPr>
            <p:cNvSpPr txBox="1">
              <a:spLocks noChangeArrowheads="1"/>
            </p:cNvSpPr>
            <p:nvPr/>
          </p:nvSpPr>
          <p:spPr bwMode="auto">
            <a:xfrm>
              <a:off x="4402452" y="3463996"/>
              <a:ext cx="3387096" cy="138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it-IT" altLang="en-US" sz="1600" b="1" dirty="0">
                  <a:solidFill>
                    <a:srgbClr val="000000"/>
                  </a:solidFill>
                  <a:latin typeface="Segoe UI Semibold" panose="020B0502040204020203" pitchFamily="34" charset="0"/>
                </a:rPr>
                <a:t>Data </a:t>
              </a:r>
              <a:r>
                <a:rPr lang="it-IT" altLang="en-US" sz="1600" b="1" dirty="0" err="1">
                  <a:solidFill>
                    <a:srgbClr val="000000"/>
                  </a:solidFill>
                  <a:latin typeface="Segoe UI Semibold" panose="020B0502040204020203" pitchFamily="34" charset="0"/>
                </a:rPr>
                <a:t>Catalog</a:t>
              </a:r>
              <a:endParaRPr lang="it-IT" altLang="en-US" sz="1600" b="1">
                <a:solidFill>
                  <a:srgbClr val="000000"/>
                </a:solidFill>
                <a:latin typeface="Segoe UI Semibold" panose="020B0502040204020203" pitchFamily="34" charset="0"/>
              </a:endParaRP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Quality </a:t>
              </a: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Lineage</a:t>
              </a:r>
            </a:p>
            <a:p>
              <a:pPr algn="ctr" eaLnBrk="1" hangingPunct="1">
                <a:spcBef>
                  <a:spcPts val="300"/>
                </a:spcBef>
                <a:buFont typeface="Wingdings" pitchFamily="2" charset="2"/>
                <a:buNone/>
              </a:pPr>
              <a:r>
                <a:rPr lang="it-IT" altLang="en-US" sz="1600" b="1">
                  <a:solidFill>
                    <a:srgbClr val="000000"/>
                  </a:solidFill>
                  <a:latin typeface="Segoe UI Semibold" panose="020B0502040204020203" pitchFamily="34" charset="0"/>
                </a:rPr>
                <a:t>Data Estate Health</a:t>
              </a:r>
            </a:p>
            <a:p>
              <a:pPr algn="ctr" eaLnBrk="1" hangingPunct="1">
                <a:spcBef>
                  <a:spcPts val="300"/>
                </a:spcBef>
                <a:buFont typeface="Wingdings" pitchFamily="2" charset="2"/>
                <a:buNone/>
              </a:pPr>
              <a:endParaRPr lang="it-IT" altLang="en-US" sz="1600">
                <a:solidFill>
                  <a:srgbClr val="000000"/>
                </a:solidFill>
              </a:endParaRPr>
            </a:p>
          </p:txBody>
        </p:sp>
        <p:sp>
          <p:nvSpPr>
            <p:cNvPr id="81942" name="TextBox 31">
              <a:extLst>
                <a:ext uri="{FF2B5EF4-FFF2-40B4-BE49-F238E27FC236}">
                  <a16:creationId xmlns:a16="http://schemas.microsoft.com/office/drawing/2014/main" id="{F4A70BB6-C2E1-6E09-599D-B24FA2BB8B5D}"/>
                </a:ext>
              </a:extLst>
            </p:cNvPr>
            <p:cNvSpPr txBox="1">
              <a:spLocks noChangeArrowheads="1"/>
            </p:cNvSpPr>
            <p:nvPr/>
          </p:nvSpPr>
          <p:spPr bwMode="auto">
            <a:xfrm>
              <a:off x="4571896" y="2461520"/>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a:solidFill>
                    <a:srgbClr val="0078D4"/>
                  </a:solidFill>
                  <a:latin typeface="Segoe UI Semibold" panose="020B0502040204020203" pitchFamily="34" charset="0"/>
                  <a:cs typeface="Segoe UI" panose="020B0502040204020203" pitchFamily="34" charset="0"/>
                </a:rPr>
                <a:t>Responsibly unlock value creation from data</a:t>
              </a:r>
            </a:p>
          </p:txBody>
        </p:sp>
        <p:sp>
          <p:nvSpPr>
            <p:cNvPr id="35" name="Freeform 50">
              <a:extLst>
                <a:ext uri="{FF2B5EF4-FFF2-40B4-BE49-F238E27FC236}">
                  <a16:creationId xmlns:a16="http://schemas.microsoft.com/office/drawing/2014/main" id="{1751344F-F0A1-873F-3515-C687D7E1488D}"/>
                </a:ext>
              </a:extLst>
            </p:cNvPr>
            <p:cNvSpPr/>
            <p:nvPr/>
          </p:nvSpPr>
          <p:spPr>
            <a:xfrm>
              <a:off x="4357450" y="1936396"/>
              <a:ext cx="3481388" cy="401793"/>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a:solidFill>
                    <a:srgbClr val="FFFFFF"/>
                  </a:solidFill>
                  <a:latin typeface="Segoe UI Semibold"/>
                </a:rPr>
                <a:t>DATA GOVERNANCE</a:t>
              </a:r>
            </a:p>
          </p:txBody>
        </p:sp>
        <p:cxnSp>
          <p:nvCxnSpPr>
            <p:cNvPr id="39" name="Straight Connector 38">
              <a:extLst>
                <a:ext uri="{FF2B5EF4-FFF2-40B4-BE49-F238E27FC236}">
                  <a16:creationId xmlns:a16="http://schemas.microsoft.com/office/drawing/2014/main" id="{6371CB3F-CF34-FF96-0717-BADEF22AF707}"/>
                </a:ext>
              </a:extLst>
            </p:cNvPr>
            <p:cNvCxnSpPr>
              <a:cxnSpLocks/>
            </p:cNvCxnSpPr>
            <p:nvPr/>
          </p:nvCxnSpPr>
          <p:spPr>
            <a:xfrm>
              <a:off x="4444762" y="3237059"/>
              <a:ext cx="330676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6F8AC163-F9FF-3A60-D10A-F3204640BC4C}"/>
              </a:ext>
            </a:extLst>
          </p:cNvPr>
          <p:cNvGrpSpPr>
            <a:grpSpLocks/>
          </p:cNvGrpSpPr>
          <p:nvPr/>
        </p:nvGrpSpPr>
        <p:grpSpPr bwMode="auto">
          <a:xfrm>
            <a:off x="7954963" y="1936750"/>
            <a:ext cx="3509962" cy="2911475"/>
            <a:chOff x="7955755" y="1936396"/>
            <a:chExt cx="3508377" cy="2912595"/>
          </a:xfrm>
        </p:grpSpPr>
        <p:sp>
          <p:nvSpPr>
            <p:cNvPr id="81937" name="Text Placeholder 2">
              <a:extLst>
                <a:ext uri="{FF2B5EF4-FFF2-40B4-BE49-F238E27FC236}">
                  <a16:creationId xmlns:a16="http://schemas.microsoft.com/office/drawing/2014/main" id="{AAE389AD-2BE5-AEE1-CFCA-43B3827EE8F5}"/>
                </a:ext>
              </a:extLst>
            </p:cNvPr>
            <p:cNvSpPr txBox="1">
              <a:spLocks noChangeArrowheads="1"/>
            </p:cNvSpPr>
            <p:nvPr/>
          </p:nvSpPr>
          <p:spPr bwMode="auto">
            <a:xfrm>
              <a:off x="7955755" y="3463996"/>
              <a:ext cx="3387096"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1863">
                <a:spcBef>
                  <a:spcPct val="20000"/>
                </a:spcBef>
                <a:buSzPct val="90000"/>
                <a:buFont typeface="Wingdings" pitchFamily="2" charset="2"/>
                <a:buChar char=""/>
                <a:defRPr sz="2800">
                  <a:solidFill>
                    <a:schemeClr val="tx1"/>
                  </a:solidFill>
                  <a:latin typeface="Segoe UI" panose="020B0502040204020203" pitchFamily="34" charset="0"/>
                  <a:cs typeface="Segoe UI" panose="020B0502040204020203" pitchFamily="34" charset="0"/>
                </a:defRPr>
              </a:lvl1pPr>
              <a:lvl2pPr marL="455613" indent="-227013" defTabSz="931863">
                <a:spcBef>
                  <a:spcPct val="20000"/>
                </a:spcBef>
                <a:buSzPct val="90000"/>
                <a:buFont typeface="Wingdings" pitchFamily="2" charset="2"/>
                <a:buChar char=""/>
                <a:defRPr sz="2000">
                  <a:solidFill>
                    <a:schemeClr val="tx1"/>
                  </a:solidFill>
                  <a:latin typeface="Segoe UI" panose="020B0502040204020203" pitchFamily="34" charset="0"/>
                  <a:cs typeface="Segoe UI" panose="020B0502040204020203" pitchFamily="34" charset="0"/>
                </a:defRPr>
              </a:lvl2pPr>
              <a:lvl3pPr marL="655638" indent="-198438" defTabSz="931863">
                <a:spcBef>
                  <a:spcPct val="20000"/>
                </a:spcBef>
                <a:buSzPct val="90000"/>
                <a:buFont typeface="Wingdings" pitchFamily="2" charset="2"/>
                <a:buChar char=""/>
                <a:defRPr sz="1600">
                  <a:solidFill>
                    <a:schemeClr val="tx1"/>
                  </a:solidFill>
                  <a:latin typeface="Segoe UI" panose="020B0502040204020203" pitchFamily="34" charset="0"/>
                  <a:cs typeface="Segoe UI" panose="020B0502040204020203" pitchFamily="34" charset="0"/>
                </a:defRPr>
              </a:lvl3pPr>
              <a:lvl4pPr marL="841375" indent="-1793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4pPr>
              <a:lvl5pPr marL="1022350" indent="-166688" defTabSz="931863">
                <a:spcBef>
                  <a:spcPct val="20000"/>
                </a:spcBef>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5pPr>
              <a:lvl6pPr marL="14795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6pPr>
              <a:lvl7pPr marL="19367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7pPr>
              <a:lvl8pPr marL="23939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8pPr>
              <a:lvl9pPr marL="2851150" indent="-166688" defTabSz="931863" fontAlgn="base">
                <a:spcBef>
                  <a:spcPct val="20000"/>
                </a:spcBef>
                <a:spcAft>
                  <a:spcPct val="0"/>
                </a:spcAft>
                <a:buSzPct val="90000"/>
                <a:buFont typeface="Wingdings" pitchFamily="2" charset="2"/>
                <a:buChar char=""/>
                <a:defRPr sz="1400">
                  <a:solidFill>
                    <a:schemeClr val="tx1"/>
                  </a:solidFill>
                  <a:latin typeface="Segoe UI" panose="020B0502040204020203" pitchFamily="34" charset="0"/>
                  <a:cs typeface="Segoe UI" panose="020B0502040204020203" pitchFamily="34" charset="0"/>
                </a:defRPr>
              </a:lvl9pPr>
            </a:lstStyle>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Compliance Manager</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eDiscovery and Audit</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Communication Compliance</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Data Lifecycle Management </a:t>
              </a:r>
            </a:p>
            <a:p>
              <a:pPr algn="ctr" eaLnBrk="1" hangingPunct="1">
                <a:spcBef>
                  <a:spcPts val="300"/>
                </a:spcBef>
                <a:buFont typeface="Wingdings" pitchFamily="2" charset="2"/>
                <a:buNone/>
              </a:pPr>
              <a:r>
                <a:rPr lang="en-US" altLang="en-US" sz="1600" b="1">
                  <a:solidFill>
                    <a:srgbClr val="000000"/>
                  </a:solidFill>
                  <a:latin typeface="Segoe UI Semibold" panose="020B0502040204020203" pitchFamily="34" charset="0"/>
                </a:rPr>
                <a:t>Records Management</a:t>
              </a:r>
            </a:p>
          </p:txBody>
        </p:sp>
        <p:sp>
          <p:nvSpPr>
            <p:cNvPr id="81938" name="TextBox 32">
              <a:extLst>
                <a:ext uri="{FF2B5EF4-FFF2-40B4-BE49-F238E27FC236}">
                  <a16:creationId xmlns:a16="http://schemas.microsoft.com/office/drawing/2014/main" id="{C97CE146-B6D2-2B99-8D06-783A97791153}"/>
                </a:ext>
              </a:extLst>
            </p:cNvPr>
            <p:cNvSpPr txBox="1">
              <a:spLocks noChangeArrowheads="1"/>
            </p:cNvSpPr>
            <p:nvPr/>
          </p:nvSpPr>
          <p:spPr bwMode="auto">
            <a:xfrm>
              <a:off x="8235029" y="2496648"/>
              <a:ext cx="30482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00">
                  <a:solidFill>
                    <a:srgbClr val="0070C0"/>
                  </a:solidFill>
                  <a:latin typeface="Segoe UI Semibold" panose="020B0502040204020203" pitchFamily="34" charset="0"/>
                  <a:cs typeface="Segoe UI" panose="020B0502040204020203" pitchFamily="34" charset="0"/>
                </a:rPr>
                <a:t>Manage critical risks and regulatory requirements</a:t>
              </a:r>
            </a:p>
          </p:txBody>
        </p:sp>
        <p:sp>
          <p:nvSpPr>
            <p:cNvPr id="34" name="Freeform 51">
              <a:extLst>
                <a:ext uri="{FF2B5EF4-FFF2-40B4-BE49-F238E27FC236}">
                  <a16:creationId xmlns:a16="http://schemas.microsoft.com/office/drawing/2014/main" id="{B375EC77-B0F8-8D90-BCE4-249E0BC6D532}"/>
                </a:ext>
              </a:extLst>
            </p:cNvPr>
            <p:cNvSpPr/>
            <p:nvPr/>
          </p:nvSpPr>
          <p:spPr>
            <a:xfrm>
              <a:off x="7982730" y="1936396"/>
              <a:ext cx="3481402" cy="401793"/>
            </a:xfrm>
            <a:prstGeom prst="roundRect">
              <a:avLst>
                <a:gd name="adj" fmla="val 50000"/>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200" spc="300">
                  <a:solidFill>
                    <a:srgbClr val="FFFFFF"/>
                  </a:solidFill>
                  <a:latin typeface="Segoe UI Semibold"/>
                </a:rPr>
                <a:t>DATA COMPLIANCE</a:t>
              </a:r>
            </a:p>
          </p:txBody>
        </p:sp>
        <p:cxnSp>
          <p:nvCxnSpPr>
            <p:cNvPr id="40" name="Straight Connector 39">
              <a:extLst>
                <a:ext uri="{FF2B5EF4-FFF2-40B4-BE49-F238E27FC236}">
                  <a16:creationId xmlns:a16="http://schemas.microsoft.com/office/drawing/2014/main" id="{F396C1D9-9188-E2BB-C4EB-5A704E32ADDC}"/>
                </a:ext>
              </a:extLst>
            </p:cNvPr>
            <p:cNvCxnSpPr>
              <a:cxnSpLocks/>
            </p:cNvCxnSpPr>
            <p:nvPr/>
          </p:nvCxnSpPr>
          <p:spPr>
            <a:xfrm>
              <a:off x="8070003" y="3237059"/>
              <a:ext cx="330685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 name="Rectangle: Rounded Corners 1">
            <a:extLst>
              <a:ext uri="{FF2B5EF4-FFF2-40B4-BE49-F238E27FC236}">
                <a16:creationId xmlns:a16="http://schemas.microsoft.com/office/drawing/2014/main" id="{ED8D6D5C-6B7B-12E1-55B0-7EC6ACE1AF7D}"/>
              </a:ext>
            </a:extLst>
          </p:cNvPr>
          <p:cNvSpPr/>
          <p:nvPr/>
        </p:nvSpPr>
        <p:spPr bwMode="auto">
          <a:xfrm>
            <a:off x="3957638" y="5054600"/>
            <a:ext cx="4276725" cy="492125"/>
          </a:xfrm>
          <a:prstGeom prst="roundRect">
            <a:avLst>
              <a:gd name="adj" fmla="val 50000"/>
            </a:avLst>
          </a:prstGeom>
          <a:solidFill>
            <a:srgbClr val="FFFFFF">
              <a:lumMod val="95000"/>
            </a:srgbClr>
          </a:solid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algn="ctr" eaLnBrk="1" fontAlgn="auto" hangingPunct="1">
              <a:spcBef>
                <a:spcPts val="0"/>
              </a:spcBef>
              <a:spcAft>
                <a:spcPts val="0"/>
              </a:spcAft>
              <a:defRPr/>
            </a:pPr>
            <a:r>
              <a:rPr lang="en-GB" sz="1400" kern="0">
                <a:solidFill>
                  <a:srgbClr val="000000"/>
                </a:solidFill>
                <a:latin typeface="Segoe UI Semibold"/>
              </a:rPr>
              <a:t>Traditional and AI generated data</a:t>
            </a:r>
          </a:p>
        </p:txBody>
      </p:sp>
      <p:sp>
        <p:nvSpPr>
          <p:cNvPr id="4" name="Rectangle: Rounded Corners 3">
            <a:extLst>
              <a:ext uri="{FF2B5EF4-FFF2-40B4-BE49-F238E27FC236}">
                <a16:creationId xmlns:a16="http://schemas.microsoft.com/office/drawing/2014/main" id="{3C58F74B-8464-F6F3-EF58-DB57F37091DC}"/>
              </a:ext>
            </a:extLst>
          </p:cNvPr>
          <p:cNvSpPr/>
          <p:nvPr/>
        </p:nvSpPr>
        <p:spPr bwMode="auto">
          <a:xfrm>
            <a:off x="7758113" y="5054600"/>
            <a:ext cx="3781425" cy="492125"/>
          </a:xfrm>
          <a:prstGeom prst="roundRect">
            <a:avLst>
              <a:gd name="adj" fmla="val 50000"/>
            </a:avLst>
          </a:prstGeom>
          <a:no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algn="r" eaLnBrk="1" fontAlgn="auto" hangingPunct="1">
              <a:spcBef>
                <a:spcPts val="0"/>
              </a:spcBef>
              <a:spcAft>
                <a:spcPts val="0"/>
              </a:spcAft>
              <a:defRPr/>
            </a:pPr>
            <a:r>
              <a:rPr lang="en-GB" sz="1400" kern="0">
                <a:solidFill>
                  <a:srgbClr val="000000"/>
                </a:solidFill>
                <a:latin typeface="Segoe UI Semibold"/>
              </a:rPr>
              <a:t>Microsoft 365 and Multi-cloud</a:t>
            </a:r>
          </a:p>
        </p:txBody>
      </p:sp>
      <p:sp>
        <p:nvSpPr>
          <p:cNvPr id="5" name="Rectangle: Rounded Corners 4">
            <a:extLst>
              <a:ext uri="{FF2B5EF4-FFF2-40B4-BE49-F238E27FC236}">
                <a16:creationId xmlns:a16="http://schemas.microsoft.com/office/drawing/2014/main" id="{D6C4BE24-6A0D-C817-56AB-075BECB52AE9}"/>
              </a:ext>
            </a:extLst>
          </p:cNvPr>
          <p:cNvSpPr/>
          <p:nvPr/>
        </p:nvSpPr>
        <p:spPr bwMode="auto">
          <a:xfrm>
            <a:off x="614363" y="5054600"/>
            <a:ext cx="3783012" cy="492125"/>
          </a:xfrm>
          <a:prstGeom prst="roundRect">
            <a:avLst>
              <a:gd name="adj" fmla="val 50000"/>
            </a:avLst>
          </a:prstGeom>
          <a:noFill/>
          <a:ln w="28575" cap="flat" cmpd="sng" algn="ctr">
            <a:solidFill>
              <a:schemeClr val="bg1">
                <a:lumMod val="95000"/>
              </a:schemeClr>
            </a:solidFill>
            <a:prstDash val="solid"/>
            <a:headEnd type="none" w="med" len="med"/>
            <a:tailEnd type="none" w="med" len="med"/>
          </a:ln>
          <a:effectLst/>
        </p:spPr>
        <p:txBody>
          <a:bodyPr lIns="182880" tIns="146304" rIns="182880" bIns="146304" anchor="ctr"/>
          <a:lstStyle/>
          <a:p>
            <a:pPr eaLnBrk="1" fontAlgn="auto" hangingPunct="1">
              <a:spcBef>
                <a:spcPts val="0"/>
              </a:spcBef>
              <a:spcAft>
                <a:spcPts val="0"/>
              </a:spcAft>
              <a:defRPr/>
            </a:pPr>
            <a:r>
              <a:rPr lang="en-GB" sz="1400" kern="0">
                <a:solidFill>
                  <a:srgbClr val="000000"/>
                </a:solidFill>
                <a:latin typeface="Segoe UI Semibold"/>
              </a:rPr>
              <a:t>Unstructured &amp; Structured data</a:t>
            </a:r>
          </a:p>
        </p:txBody>
      </p:sp>
      <p:sp>
        <p:nvSpPr>
          <p:cNvPr id="8" name="Title 2">
            <a:extLst>
              <a:ext uri="{FF2B5EF4-FFF2-40B4-BE49-F238E27FC236}">
                <a16:creationId xmlns:a16="http://schemas.microsoft.com/office/drawing/2014/main" id="{A2245FE4-C2A4-66EF-BEBC-A714BEAE5E7F}"/>
              </a:ext>
            </a:extLst>
          </p:cNvPr>
          <p:cNvSpPr>
            <a:spLocks noGrp="1"/>
          </p:cNvSpPr>
          <p:nvPr>
            <p:ph type="title" idx="4294967295"/>
          </p:nvPr>
        </p:nvSpPr>
        <p:spPr>
          <a:xfrm>
            <a:off x="1174750" y="457200"/>
            <a:ext cx="11017250" cy="923925"/>
          </a:xfrm>
        </p:spPr>
        <p:txBody>
          <a:bodyPr/>
          <a:lstStyle/>
          <a:p>
            <a:pPr algn="ctr" defTabSz="932742" fontAlgn="auto">
              <a:spcAft>
                <a:spcPts val="0"/>
              </a:spcAft>
              <a:defRPr/>
            </a:pPr>
            <a:br>
              <a:rPr/>
            </a:br>
            <a:r>
              <a:rPr sz="2400">
                <a:latin typeface="+mn-lt"/>
              </a:rPr>
              <a:t>Unified platform to secure &amp; govern your multi-cloud data estate</a:t>
            </a:r>
            <a:endParaRPr lang="en-CA">
              <a:latin typeface="+mn-lt"/>
            </a:endParaRPr>
          </a:p>
        </p:txBody>
      </p:sp>
      <p:pic>
        <p:nvPicPr>
          <p:cNvPr id="81935" name="Picture 2">
            <a:extLst>
              <a:ext uri="{FF2B5EF4-FFF2-40B4-BE49-F238E27FC236}">
                <a16:creationId xmlns:a16="http://schemas.microsoft.com/office/drawing/2014/main" id="{C2CC8274-F813-4C4A-B319-C6197E53881F}"/>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409950" y="457200"/>
            <a:ext cx="43656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E016CFB7-477A-E448-4E2C-DF1FDFC4DE4B}"/>
              </a:ext>
            </a:extLst>
          </p:cNvPr>
          <p:cNvSpPr txBox="1">
            <a:spLocks/>
          </p:cNvSpPr>
          <p:nvPr/>
        </p:nvSpPr>
        <p:spPr>
          <a:xfrm>
            <a:off x="3476625" y="368300"/>
            <a:ext cx="4941888" cy="554038"/>
          </a:xfrm>
          <a:prstGeom prst="rect">
            <a:avLst/>
          </a:prstGeom>
        </p:spPr>
        <p:txBody>
          <a:bodyPr lIns="0" tIns="0" rIns="0" bIns="0">
            <a:spAutoFit/>
          </a:bodyPr>
          <a:lstStyle/>
          <a:p>
            <a:pPr algn="ctr" defTabSz="932472" eaLnBrk="1" hangingPunct="1">
              <a:spcBef>
                <a:spcPts val="0"/>
              </a:spcBef>
              <a:defRPr/>
            </a:pPr>
            <a:r>
              <a:rPr lang="en-US" sz="3600" kern="0">
                <a:solidFill>
                  <a:srgbClr val="0078D4"/>
                </a:solidFill>
                <a:latin typeface="Segoe Sans Display Semibold" pitchFamily="2" charset="0"/>
                <a:cs typeface="Segoe Sans Display Semibold" pitchFamily="2" charset="0"/>
              </a:rPr>
              <a:t>Microsoft Purview</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Shape 86">
            <a:extLst>
              <a:ext uri="{FF2B5EF4-FFF2-40B4-BE49-F238E27FC236}">
                <a16:creationId xmlns:a16="http://schemas.microsoft.com/office/drawing/2014/main" id="{5347ECFC-C288-0A07-5FEE-C3AFD5A2965F}"/>
              </a:ext>
              <a:ext uri="{C183D7F6-B498-43B3-948B-1728B52AA6E4}">
                <adec:decorative xmlns:adec="http://schemas.microsoft.com/office/drawing/2017/decorative" val="1"/>
              </a:ext>
            </a:extLst>
          </p:cNvPr>
          <p:cNvSpPr/>
          <p:nvPr/>
        </p:nvSpPr>
        <p:spPr>
          <a:xfrm>
            <a:off x="1064339" y="2368809"/>
            <a:ext cx="3501898" cy="2332053"/>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gradFill flip="none" rotWithShape="1">
              <a:gsLst>
                <a:gs pos="0">
                  <a:srgbClr val="3894D1"/>
                </a:gs>
                <a:gs pos="100000">
                  <a:schemeClr val="bg2"/>
                </a:gs>
              </a:gsLst>
              <a:lin ang="8100000" scaled="1"/>
              <a:tileRect/>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246" name="Rectangle: Top Corners Rounded 125">
            <a:extLst>
              <a:ext uri="{FF2B5EF4-FFF2-40B4-BE49-F238E27FC236}">
                <a16:creationId xmlns:a16="http://schemas.microsoft.com/office/drawing/2014/main" id="{B5916E59-6658-A4B0-486E-4661A7E3A569}"/>
              </a:ext>
              <a:ext uri="{C183D7F6-B498-43B3-948B-1728B52AA6E4}">
                <adec:decorative xmlns:adec="http://schemas.microsoft.com/office/drawing/2017/decorative" val="1"/>
              </a:ext>
            </a:extLst>
          </p:cNvPr>
          <p:cNvSpPr/>
          <p:nvPr/>
        </p:nvSpPr>
        <p:spPr bwMode="auto">
          <a:xfrm>
            <a:off x="5354729" y="1114634"/>
            <a:ext cx="6524925" cy="5550421"/>
          </a:xfrm>
          <a:prstGeom prst="roundRect">
            <a:avLst>
              <a:gd name="adj" fmla="val 3192"/>
            </a:avLst>
          </a:prstGeom>
          <a:solidFill>
            <a:srgbClr val="C3E5FF">
              <a:alpha val="70000"/>
            </a:srgbClr>
          </a:solidFill>
          <a:ln w="6350" cap="flat" cmpd="sng" algn="ctr">
            <a:noFill/>
            <a:prstDash val="solid"/>
            <a:miter lim="800000"/>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000000"/>
                </a:solidFill>
                <a:latin typeface="Segoe Sans Text"/>
              </a:defRPr>
            </a:lvl1pPr>
            <a:lvl2pPr marL="457183" algn="l" defTabSz="914367" rtl="0" eaLnBrk="1" latinLnBrk="0" hangingPunct="1">
              <a:defRPr sz="1765" kern="1200">
                <a:solidFill>
                  <a:srgbClr val="000000"/>
                </a:solidFill>
                <a:latin typeface="Segoe Sans Text"/>
              </a:defRPr>
            </a:lvl2pPr>
            <a:lvl3pPr marL="914367" algn="l" defTabSz="914367" rtl="0" eaLnBrk="1" latinLnBrk="0" hangingPunct="1">
              <a:defRPr sz="1765" kern="1200">
                <a:solidFill>
                  <a:srgbClr val="000000"/>
                </a:solidFill>
                <a:latin typeface="Segoe Sans Text"/>
              </a:defRPr>
            </a:lvl3pPr>
            <a:lvl4pPr marL="1371550" algn="l" defTabSz="914367" rtl="0" eaLnBrk="1" latinLnBrk="0" hangingPunct="1">
              <a:defRPr sz="1765" kern="1200">
                <a:solidFill>
                  <a:srgbClr val="000000"/>
                </a:solidFill>
                <a:latin typeface="Segoe Sans Text"/>
              </a:defRPr>
            </a:lvl4pPr>
            <a:lvl5pPr marL="1828734" algn="l" defTabSz="914367" rtl="0" eaLnBrk="1" latinLnBrk="0" hangingPunct="1">
              <a:defRPr sz="1765" kern="1200">
                <a:solidFill>
                  <a:srgbClr val="000000"/>
                </a:solidFill>
                <a:latin typeface="Segoe Sans Text"/>
              </a:defRPr>
            </a:lvl5pPr>
            <a:lvl6pPr marL="2285918" algn="l" defTabSz="914367" rtl="0" eaLnBrk="1" latinLnBrk="0" hangingPunct="1">
              <a:defRPr sz="1765" kern="1200">
                <a:solidFill>
                  <a:srgbClr val="000000"/>
                </a:solidFill>
                <a:latin typeface="Segoe Sans Text"/>
              </a:defRPr>
            </a:lvl6pPr>
            <a:lvl7pPr marL="2743101" algn="l" defTabSz="914367" rtl="0" eaLnBrk="1" latinLnBrk="0" hangingPunct="1">
              <a:defRPr sz="1765" kern="1200">
                <a:solidFill>
                  <a:srgbClr val="000000"/>
                </a:solidFill>
                <a:latin typeface="Segoe Sans Text"/>
              </a:defRPr>
            </a:lvl7pPr>
            <a:lvl8pPr marL="3200284" algn="l" defTabSz="914367" rtl="0" eaLnBrk="1" latinLnBrk="0" hangingPunct="1">
              <a:defRPr sz="1765" kern="1200">
                <a:solidFill>
                  <a:srgbClr val="000000"/>
                </a:solidFill>
                <a:latin typeface="Segoe Sans Text"/>
              </a:defRPr>
            </a:lvl8pPr>
            <a:lvl9pPr marL="3657469" algn="l" defTabSz="914367" rtl="0" eaLnBrk="1" latinLnBrk="0" hangingPunct="1">
              <a:defRPr sz="1765" kern="1200">
                <a:solidFill>
                  <a:srgbClr val="000000"/>
                </a:solidFill>
                <a:latin typeface="Segoe Sans Text"/>
              </a:defRPr>
            </a:lvl9p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47" name="Rectangle: Top Corners Rounded 125">
            <a:extLst>
              <a:ext uri="{FF2B5EF4-FFF2-40B4-BE49-F238E27FC236}">
                <a16:creationId xmlns:a16="http://schemas.microsoft.com/office/drawing/2014/main" id="{750FE108-4AD9-0045-9A74-93B851303963}"/>
              </a:ext>
              <a:ext uri="{C183D7F6-B498-43B3-948B-1728B52AA6E4}">
                <adec:decorative xmlns:adec="http://schemas.microsoft.com/office/drawing/2017/decorative" val="1"/>
              </a:ext>
            </a:extLst>
          </p:cNvPr>
          <p:cNvSpPr/>
          <p:nvPr/>
        </p:nvSpPr>
        <p:spPr bwMode="auto">
          <a:xfrm>
            <a:off x="5427200" y="1211986"/>
            <a:ext cx="6379983" cy="5327171"/>
          </a:xfrm>
          <a:prstGeom prst="roundRect">
            <a:avLst>
              <a:gd name="adj" fmla="val 1742"/>
            </a:avLst>
          </a:prstGeom>
          <a:solidFill>
            <a:srgbClr val="00B0F0"/>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2880" tIns="91440" rIns="182880" bIns="91440" rtlCol="0" anchor="t"/>
          <a:lstStyle>
            <a:defPPr>
              <a:defRPr lang="en-US"/>
            </a:defPPr>
            <a:lvl1pPr marL="0" algn="l" defTabSz="914367" rtl="0" eaLnBrk="1" latinLnBrk="0" hangingPunct="1">
              <a:defRPr sz="1765" kern="1200">
                <a:solidFill>
                  <a:srgbClr val="000000"/>
                </a:solidFill>
                <a:latin typeface="Segoe Sans Text"/>
              </a:defRPr>
            </a:lvl1pPr>
            <a:lvl2pPr marL="457183" algn="l" defTabSz="914367" rtl="0" eaLnBrk="1" latinLnBrk="0" hangingPunct="1">
              <a:defRPr sz="1765" kern="1200">
                <a:solidFill>
                  <a:srgbClr val="000000"/>
                </a:solidFill>
                <a:latin typeface="Segoe Sans Text"/>
              </a:defRPr>
            </a:lvl2pPr>
            <a:lvl3pPr marL="914367" algn="l" defTabSz="914367" rtl="0" eaLnBrk="1" latinLnBrk="0" hangingPunct="1">
              <a:defRPr sz="1765" kern="1200">
                <a:solidFill>
                  <a:srgbClr val="000000"/>
                </a:solidFill>
                <a:latin typeface="Segoe Sans Text"/>
              </a:defRPr>
            </a:lvl3pPr>
            <a:lvl4pPr marL="1371550" algn="l" defTabSz="914367" rtl="0" eaLnBrk="1" latinLnBrk="0" hangingPunct="1">
              <a:defRPr sz="1765" kern="1200">
                <a:solidFill>
                  <a:srgbClr val="000000"/>
                </a:solidFill>
                <a:latin typeface="Segoe Sans Text"/>
              </a:defRPr>
            </a:lvl4pPr>
            <a:lvl5pPr marL="1828734" algn="l" defTabSz="914367" rtl="0" eaLnBrk="1" latinLnBrk="0" hangingPunct="1">
              <a:defRPr sz="1765" kern="1200">
                <a:solidFill>
                  <a:srgbClr val="000000"/>
                </a:solidFill>
                <a:latin typeface="Segoe Sans Text"/>
              </a:defRPr>
            </a:lvl5pPr>
            <a:lvl6pPr marL="2285918" algn="l" defTabSz="914367" rtl="0" eaLnBrk="1" latinLnBrk="0" hangingPunct="1">
              <a:defRPr sz="1765" kern="1200">
                <a:solidFill>
                  <a:srgbClr val="000000"/>
                </a:solidFill>
                <a:latin typeface="Segoe Sans Text"/>
              </a:defRPr>
            </a:lvl6pPr>
            <a:lvl7pPr marL="2743101" algn="l" defTabSz="914367" rtl="0" eaLnBrk="1" latinLnBrk="0" hangingPunct="1">
              <a:defRPr sz="1765" kern="1200">
                <a:solidFill>
                  <a:srgbClr val="000000"/>
                </a:solidFill>
                <a:latin typeface="Segoe Sans Text"/>
              </a:defRPr>
            </a:lvl7pPr>
            <a:lvl8pPr marL="3200284" algn="l" defTabSz="914367" rtl="0" eaLnBrk="1" latinLnBrk="0" hangingPunct="1">
              <a:defRPr sz="1765" kern="1200">
                <a:solidFill>
                  <a:srgbClr val="000000"/>
                </a:solidFill>
                <a:latin typeface="Segoe Sans Text"/>
              </a:defRPr>
            </a:lvl8pPr>
            <a:lvl9pPr marL="3657469" algn="l" defTabSz="914367" rtl="0" eaLnBrk="1" latinLnBrk="0" hangingPunct="1">
              <a:defRPr sz="1765" kern="1200">
                <a:solidFill>
                  <a:srgbClr val="000000"/>
                </a:solidFill>
                <a:latin typeface="Segoe Sans Text"/>
              </a:defRPr>
            </a:lvl9pPr>
          </a:lstStyle>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endParaRPr>
          </a:p>
        </p:txBody>
      </p:sp>
      <p:sp>
        <p:nvSpPr>
          <p:cNvPr id="241" name="Rectangle: Rounded Corners 240">
            <a:extLst>
              <a:ext uri="{FF2B5EF4-FFF2-40B4-BE49-F238E27FC236}">
                <a16:creationId xmlns:a16="http://schemas.microsoft.com/office/drawing/2014/main" id="{52A2AB2A-AAE7-B29B-DC0D-3D9A838D97D6}"/>
              </a:ext>
            </a:extLst>
          </p:cNvPr>
          <p:cNvSpPr/>
          <p:nvPr/>
        </p:nvSpPr>
        <p:spPr>
          <a:xfrm>
            <a:off x="5528151" y="1302304"/>
            <a:ext cx="6178081" cy="3821462"/>
          </a:xfrm>
          <a:prstGeom prst="roundRect">
            <a:avLst>
              <a:gd name="adj" fmla="val 2428"/>
            </a:avLst>
          </a:prstGeom>
          <a:solidFill>
            <a:srgbClr val="FFFFFF"/>
          </a:solidFill>
          <a:ln>
            <a:noFill/>
          </a:ln>
          <a:effectLst>
            <a:outerShdw blurRad="508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237" name="Oval 236">
            <a:extLst>
              <a:ext uri="{FF2B5EF4-FFF2-40B4-BE49-F238E27FC236}">
                <a16:creationId xmlns:a16="http://schemas.microsoft.com/office/drawing/2014/main" id="{75E4D229-3CBA-691C-5996-206400D0A9BF}"/>
              </a:ext>
              <a:ext uri="{C183D7F6-B498-43B3-948B-1728B52AA6E4}">
                <adec:decorative xmlns:adec="http://schemas.microsoft.com/office/drawing/2017/decorative" val="1"/>
              </a:ext>
            </a:extLst>
          </p:cNvPr>
          <p:cNvSpPr/>
          <p:nvPr/>
        </p:nvSpPr>
        <p:spPr bwMode="auto">
          <a:xfrm>
            <a:off x="747672" y="1384644"/>
            <a:ext cx="649793" cy="649793"/>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Rectangle: Rounded Corners 368">
            <a:extLst>
              <a:ext uri="{FF2B5EF4-FFF2-40B4-BE49-F238E27FC236}">
                <a16:creationId xmlns:a16="http://schemas.microsoft.com/office/drawing/2014/main" id="{9324AA0E-7E63-7E68-7F15-9AFA2D28A1A7}"/>
              </a:ext>
              <a:ext uri="{C183D7F6-B498-43B3-948B-1728B52AA6E4}">
                <adec:decorative xmlns:adec="http://schemas.microsoft.com/office/drawing/2017/decorative" val="1"/>
              </a:ext>
            </a:extLst>
          </p:cNvPr>
          <p:cNvSpPr/>
          <p:nvPr/>
        </p:nvSpPr>
        <p:spPr>
          <a:xfrm>
            <a:off x="5636785" y="1404898"/>
            <a:ext cx="5960812" cy="1539208"/>
          </a:xfrm>
          <a:prstGeom prst="roundRect">
            <a:avLst>
              <a:gd name="adj" fmla="val 2723"/>
            </a:avLst>
          </a:prstGeom>
          <a:solidFill>
            <a:srgbClr val="FFFFFF"/>
          </a:solidFill>
          <a:ln w="22225" cap="flat" cmpd="sng" algn="ctr">
            <a:gradFill>
              <a:gsLst>
                <a:gs pos="0">
                  <a:srgbClr val="3894D1"/>
                </a:gs>
                <a:gs pos="100000">
                  <a:schemeClr val="bg2"/>
                </a:gs>
              </a:gsLst>
              <a:lin ang="3600000" scaled="0"/>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D931B80B-47AB-462A-3B6D-12C2B3CA9430}"/>
              </a:ext>
            </a:extLst>
          </p:cNvPr>
          <p:cNvSpPr>
            <a:spLocks noGrp="1"/>
          </p:cNvSpPr>
          <p:nvPr>
            <p:ph type="title" idx="4294967295"/>
          </p:nvPr>
        </p:nvSpPr>
        <p:spPr>
          <a:xfrm>
            <a:off x="432868" y="326927"/>
            <a:ext cx="11029950" cy="549275"/>
          </a:xfrm>
        </p:spPr>
        <p:txBody>
          <a:bodyPr>
            <a:normAutofit/>
          </a:bodyPr>
          <a:lstStyle/>
          <a:p>
            <a:r>
              <a:rPr lang="en-US" sz="3300" dirty="0">
                <a:latin typeface="Segoe UI Semibold" panose="020B0702040204020203" pitchFamily="34" charset="0"/>
                <a:cs typeface="Segoe UI Semibold" panose="020B0702040204020203" pitchFamily="34" charset="0"/>
              </a:rPr>
              <a:t>A federated practice paired with user-friendly tools</a:t>
            </a:r>
          </a:p>
        </p:txBody>
      </p:sp>
      <p:cxnSp>
        <p:nvCxnSpPr>
          <p:cNvPr id="5" name="Straight Connector 4">
            <a:extLst>
              <a:ext uri="{FF2B5EF4-FFF2-40B4-BE49-F238E27FC236}">
                <a16:creationId xmlns:a16="http://schemas.microsoft.com/office/drawing/2014/main" id="{07B5C687-EA8C-844C-1821-8E2EB0E4D4B3}"/>
              </a:ext>
              <a:ext uri="{C183D7F6-B498-43B3-948B-1728B52AA6E4}">
                <adec:decorative xmlns:adec="http://schemas.microsoft.com/office/drawing/2017/decorative" val="1"/>
              </a:ext>
            </a:extLst>
          </p:cNvPr>
          <p:cNvCxnSpPr>
            <a:cxnSpLocks/>
          </p:cNvCxnSpPr>
          <p:nvPr/>
        </p:nvCxnSpPr>
        <p:spPr>
          <a:xfrm>
            <a:off x="5030779" y="1790868"/>
            <a:ext cx="0" cy="4874187"/>
          </a:xfrm>
          <a:prstGeom prst="line">
            <a:avLst/>
          </a:prstGeom>
          <a:ln w="12700">
            <a:gradFill>
              <a:gsLst>
                <a:gs pos="100000">
                  <a:schemeClr val="accent4">
                    <a:lumMod val="60000"/>
                    <a:lumOff val="40000"/>
                  </a:schemeClr>
                </a:gs>
                <a:gs pos="0">
                  <a:schemeClr val="bg2"/>
                </a:gs>
              </a:gsLst>
              <a:lin ang="5400000" scaled="0"/>
            </a:gra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Freeform: Shape 86">
            <a:extLst>
              <a:ext uri="{FF2B5EF4-FFF2-40B4-BE49-F238E27FC236}">
                <a16:creationId xmlns:a16="http://schemas.microsoft.com/office/drawing/2014/main" id="{E6A46455-01D6-CA5A-62FF-0EF900A79266}"/>
              </a:ext>
              <a:ext uri="{C183D7F6-B498-43B3-948B-1728B52AA6E4}">
                <adec:decorative xmlns:adec="http://schemas.microsoft.com/office/drawing/2017/decorative" val="1"/>
              </a:ext>
            </a:extLst>
          </p:cNvPr>
          <p:cNvSpPr/>
          <p:nvPr/>
        </p:nvSpPr>
        <p:spPr>
          <a:xfrm>
            <a:off x="1064339" y="1166176"/>
            <a:ext cx="3493679" cy="1087366"/>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gradFill flip="none" rotWithShape="1">
              <a:gsLst>
                <a:gs pos="0">
                  <a:srgbClr val="3894D1"/>
                </a:gs>
                <a:gs pos="100000">
                  <a:schemeClr val="bg2"/>
                </a:gs>
              </a:gsLst>
              <a:lin ang="8100000" scaled="1"/>
              <a:tileRect/>
            </a:gra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FADA2968-B1A8-B1EB-49BF-38C01DF23C05}"/>
              </a:ext>
            </a:extLst>
          </p:cNvPr>
          <p:cNvSpPr txBox="1"/>
          <p:nvPr/>
        </p:nvSpPr>
        <p:spPr>
          <a:xfrm>
            <a:off x="1557272" y="1267073"/>
            <a:ext cx="186964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Consumers</a:t>
            </a:r>
          </a:p>
        </p:txBody>
      </p:sp>
      <p:sp>
        <p:nvSpPr>
          <p:cNvPr id="38" name="TextBox 37">
            <a:extLst>
              <a:ext uri="{FF2B5EF4-FFF2-40B4-BE49-F238E27FC236}">
                <a16:creationId xmlns:a16="http://schemas.microsoft.com/office/drawing/2014/main" id="{FADA1D28-8675-F894-DEC7-412F84C250A6}"/>
              </a:ext>
            </a:extLst>
          </p:cNvPr>
          <p:cNvSpPr txBox="1"/>
          <p:nvPr/>
        </p:nvSpPr>
        <p:spPr>
          <a:xfrm>
            <a:off x="1774719" y="1577984"/>
            <a:ext cx="2568432"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Quickly find and use relevant, trusted datasets through streamlined access request workflow.</a:t>
            </a:r>
          </a:p>
        </p:txBody>
      </p:sp>
      <p:pic>
        <p:nvPicPr>
          <p:cNvPr id="42" name="Picture 41">
            <a:extLst>
              <a:ext uri="{FF2B5EF4-FFF2-40B4-BE49-F238E27FC236}">
                <a16:creationId xmlns:a16="http://schemas.microsoft.com/office/drawing/2014/main" id="{1157A22E-5A8B-A40F-E69C-D31633F617ED}"/>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4568" y="1421540"/>
            <a:ext cx="576000" cy="576000"/>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pic>
      <p:sp>
        <p:nvSpPr>
          <p:cNvPr id="51" name="Rounded Rectangle 48">
            <a:extLst>
              <a:ext uri="{FF2B5EF4-FFF2-40B4-BE49-F238E27FC236}">
                <a16:creationId xmlns:a16="http://schemas.microsoft.com/office/drawing/2014/main" id="{B6346C01-E566-71D2-E3B2-DF5726FF3228}"/>
              </a:ext>
              <a:ext uri="{C183D7F6-B498-43B3-948B-1728B52AA6E4}">
                <adec:decorative xmlns:adec="http://schemas.microsoft.com/office/drawing/2017/decorative" val="1"/>
              </a:ext>
            </a:extLst>
          </p:cNvPr>
          <p:cNvSpPr/>
          <p:nvPr/>
        </p:nvSpPr>
        <p:spPr>
          <a:xfrm>
            <a:off x="5634262" y="3357464"/>
            <a:ext cx="5965859" cy="1632256"/>
          </a:xfrm>
          <a:prstGeom prst="roundRect">
            <a:avLst>
              <a:gd name="adj" fmla="val 3790"/>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35" name="TextBox 134">
            <a:extLst>
              <a:ext uri="{FF2B5EF4-FFF2-40B4-BE49-F238E27FC236}">
                <a16:creationId xmlns:a16="http://schemas.microsoft.com/office/drawing/2014/main" id="{0B50FCF6-7328-E97E-72FE-8A78E2DDC905}"/>
              </a:ext>
            </a:extLst>
          </p:cNvPr>
          <p:cNvSpPr txBox="1"/>
          <p:nvPr/>
        </p:nvSpPr>
        <p:spPr>
          <a:xfrm>
            <a:off x="1554791" y="2430099"/>
            <a:ext cx="261956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Owners</a:t>
            </a:r>
          </a:p>
        </p:txBody>
      </p:sp>
      <p:sp>
        <p:nvSpPr>
          <p:cNvPr id="136" name="TextBox 135">
            <a:extLst>
              <a:ext uri="{FF2B5EF4-FFF2-40B4-BE49-F238E27FC236}">
                <a16:creationId xmlns:a16="http://schemas.microsoft.com/office/drawing/2014/main" id="{981BDED4-4662-1735-6D0C-AE9A8617FE07}"/>
              </a:ext>
            </a:extLst>
          </p:cNvPr>
          <p:cNvSpPr txBox="1"/>
          <p:nvPr/>
        </p:nvSpPr>
        <p:spPr>
          <a:xfrm>
            <a:off x="1609965" y="2692558"/>
            <a:ext cx="2524843" cy="20313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Register data assets for use, manage classifications and access, and ensure high quality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rPr>
              <a:t>Ensure data quality, seamless data discovery, glossary consistency, and lineage. Work with central office. </a:t>
            </a: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8" name="Oval 137">
            <a:extLst>
              <a:ext uri="{FF2B5EF4-FFF2-40B4-BE49-F238E27FC236}">
                <a16:creationId xmlns:a16="http://schemas.microsoft.com/office/drawing/2014/main" id="{AB556F13-FCB5-646B-E680-FB179822DD06}"/>
              </a:ext>
              <a:ext uri="{C183D7F6-B498-43B3-948B-1728B52AA6E4}">
                <adec:decorative xmlns:adec="http://schemas.microsoft.com/office/drawing/2017/decorative" val="1"/>
              </a:ext>
            </a:extLst>
          </p:cNvPr>
          <p:cNvSpPr/>
          <p:nvPr/>
        </p:nvSpPr>
        <p:spPr bwMode="auto">
          <a:xfrm>
            <a:off x="750126" y="2588070"/>
            <a:ext cx="649793" cy="649793"/>
          </a:xfrm>
          <a:prstGeom prst="ellipse">
            <a:avLst/>
          </a:prstGeom>
          <a:gradFill>
            <a:gsLst>
              <a:gs pos="0">
                <a:schemeClr val="accent2"/>
              </a:gs>
              <a:gs pos="100000">
                <a:schemeClr val="tx2"/>
              </a:gs>
            </a:gsLst>
            <a:lin ang="2400000" scaled="0"/>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139" name="Picture 138">
            <a:extLst>
              <a:ext uri="{FF2B5EF4-FFF2-40B4-BE49-F238E27FC236}">
                <a16:creationId xmlns:a16="http://schemas.microsoft.com/office/drawing/2014/main" id="{0125C9F3-415D-75B3-3E35-31A1434EEFEB}"/>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212" t="14218" r="39503" b="57591"/>
          <a:stretch/>
        </p:blipFill>
        <p:spPr>
          <a:xfrm>
            <a:off x="787022" y="2624966"/>
            <a:ext cx="576000" cy="576000"/>
          </a:xfrm>
          <a:prstGeom prst="ellipse">
            <a:avLst/>
          </a:prstGeom>
        </p:spPr>
      </p:pic>
      <p:grpSp>
        <p:nvGrpSpPr>
          <p:cNvPr id="52" name="Group 51">
            <a:extLst>
              <a:ext uri="{FF2B5EF4-FFF2-40B4-BE49-F238E27FC236}">
                <a16:creationId xmlns:a16="http://schemas.microsoft.com/office/drawing/2014/main" id="{808CD4F6-04A4-58F2-9B3A-741349938BA3}"/>
              </a:ext>
              <a:ext uri="{C183D7F6-B498-43B3-948B-1728B52AA6E4}">
                <adec:decorative xmlns:adec="http://schemas.microsoft.com/office/drawing/2017/decorative" val="1"/>
              </a:ext>
            </a:extLst>
          </p:cNvPr>
          <p:cNvGrpSpPr/>
          <p:nvPr/>
        </p:nvGrpSpPr>
        <p:grpSpPr>
          <a:xfrm>
            <a:off x="704333" y="4989720"/>
            <a:ext cx="649793" cy="649793"/>
            <a:chOff x="257121" y="4943961"/>
            <a:chExt cx="649793" cy="649793"/>
          </a:xfrm>
        </p:grpSpPr>
        <p:sp>
          <p:nvSpPr>
            <p:cNvPr id="11" name="Oval 10">
              <a:extLst>
                <a:ext uri="{FF2B5EF4-FFF2-40B4-BE49-F238E27FC236}">
                  <a16:creationId xmlns:a16="http://schemas.microsoft.com/office/drawing/2014/main" id="{E658B02F-168F-3172-C923-9286280FC289}"/>
                </a:ext>
                <a:ext uri="{C183D7F6-B498-43B3-948B-1728B52AA6E4}">
                  <adec:decorative xmlns:adec="http://schemas.microsoft.com/office/drawing/2017/decorative" val="1"/>
                </a:ext>
              </a:extLst>
            </p:cNvPr>
            <p:cNvSpPr/>
            <p:nvPr/>
          </p:nvSpPr>
          <p:spPr bwMode="auto">
            <a:xfrm>
              <a:off x="257121" y="4943961"/>
              <a:ext cx="649793" cy="649793"/>
            </a:xfrm>
            <a:prstGeom prst="ellipse">
              <a:avLst/>
            </a:prstGeom>
            <a:gradFill flip="none" rotWithShape="1">
              <a:gsLst>
                <a:gs pos="0">
                  <a:schemeClr val="accent2"/>
                </a:gs>
                <a:gs pos="100000">
                  <a:schemeClr val="accent2">
                    <a:lumMod val="75000"/>
                  </a:schemeClr>
                </a:gs>
              </a:gsLst>
              <a:lin ang="0" scaled="1"/>
              <a:tileRect/>
            </a:gradFill>
            <a:effectLst>
              <a:outerShdw blurRad="177800" dist="50800" dir="2160000" algn="tl" rotWithShape="0">
                <a:prstClr val="black">
                  <a:alpha val="17000"/>
                </a:prstClr>
              </a:outerShdw>
            </a:effectLst>
          </p:spPr>
          <p:txBody>
            <a:bodyPr vert="horz"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27" name="Picture 26">
              <a:extLst>
                <a:ext uri="{FF2B5EF4-FFF2-40B4-BE49-F238E27FC236}">
                  <a16:creationId xmlns:a16="http://schemas.microsoft.com/office/drawing/2014/main" id="{BBBFE5E2-8405-0F98-9288-F1E519C1C277}"/>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4049" t="-1" r="24754" b="38212"/>
            <a:stretch/>
          </p:blipFill>
          <p:spPr>
            <a:xfrm>
              <a:off x="295420" y="4982799"/>
              <a:ext cx="576081" cy="576081"/>
            </a:xfrm>
            <a:prstGeom prst="ellipse">
              <a:avLst/>
            </a:prstGeom>
            <a:gradFill>
              <a:gsLst>
                <a:gs pos="80712">
                  <a:srgbClr val="7A75C1"/>
                </a:gs>
                <a:gs pos="18000">
                  <a:srgbClr val="49C5B1"/>
                </a:gs>
                <a:gs pos="96000">
                  <a:srgbClr val="8661C5"/>
                </a:gs>
              </a:gsLst>
              <a:lin ang="2700000" scaled="1"/>
            </a:gradFill>
            <a:ln>
              <a:noFill/>
            </a:ln>
            <a:effectLst>
              <a:outerShdw blurRad="101600" dist="50800" dir="2700000" algn="tl" rotWithShape="0">
                <a:srgbClr val="000000">
                  <a:lumMod val="50000"/>
                  <a:lumOff val="50000"/>
                  <a:alpha val="20000"/>
                </a:srgbClr>
              </a:outerShdw>
            </a:effectLst>
          </p:spPr>
        </p:pic>
      </p:grpSp>
      <p:grpSp>
        <p:nvGrpSpPr>
          <p:cNvPr id="30" name="Group 29">
            <a:extLst>
              <a:ext uri="{FF2B5EF4-FFF2-40B4-BE49-F238E27FC236}">
                <a16:creationId xmlns:a16="http://schemas.microsoft.com/office/drawing/2014/main" id="{E0D3D279-9F67-D7C1-A589-CB62023BAF3C}"/>
              </a:ext>
              <a:ext uri="{C183D7F6-B498-43B3-948B-1728B52AA6E4}">
                <adec:decorative xmlns:adec="http://schemas.microsoft.com/office/drawing/2017/decorative" val="1"/>
              </a:ext>
            </a:extLst>
          </p:cNvPr>
          <p:cNvGrpSpPr/>
          <p:nvPr/>
        </p:nvGrpSpPr>
        <p:grpSpPr>
          <a:xfrm>
            <a:off x="6205910" y="2070861"/>
            <a:ext cx="604414" cy="581271"/>
            <a:chOff x="5155850" y="2998004"/>
            <a:chExt cx="728729" cy="665158"/>
          </a:xfrm>
          <a:solidFill>
            <a:srgbClr val="0078D3">
              <a:lumMod val="20000"/>
              <a:lumOff val="80000"/>
            </a:srgbClr>
          </a:solidFill>
        </p:grpSpPr>
        <p:grpSp>
          <p:nvGrpSpPr>
            <p:cNvPr id="31" name="Group 30" descr="Operations">
              <a:extLst>
                <a:ext uri="{FF2B5EF4-FFF2-40B4-BE49-F238E27FC236}">
                  <a16:creationId xmlns:a16="http://schemas.microsoft.com/office/drawing/2014/main" id="{2FE9F620-B8CF-8594-4B97-05C55599F73B}"/>
                </a:ext>
              </a:extLst>
            </p:cNvPr>
            <p:cNvGrpSpPr/>
            <p:nvPr/>
          </p:nvGrpSpPr>
          <p:grpSpPr>
            <a:xfrm>
              <a:off x="5155850" y="2998004"/>
              <a:ext cx="728729" cy="571049"/>
              <a:chOff x="5155850" y="3155058"/>
              <a:chExt cx="728729" cy="571049"/>
            </a:xfrm>
            <a:grpFill/>
          </p:grpSpPr>
          <p:grpSp>
            <p:nvGrpSpPr>
              <p:cNvPr id="68" name="Group 67">
                <a:extLst>
                  <a:ext uri="{FF2B5EF4-FFF2-40B4-BE49-F238E27FC236}">
                    <a16:creationId xmlns:a16="http://schemas.microsoft.com/office/drawing/2014/main" id="{0D2E8B50-50D4-D5F5-A110-1C64765A41A8}"/>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73" name="Freeform 24">
                  <a:extLst>
                    <a:ext uri="{FF2B5EF4-FFF2-40B4-BE49-F238E27FC236}">
                      <a16:creationId xmlns:a16="http://schemas.microsoft.com/office/drawing/2014/main" id="{5EDD1C35-E905-4EE8-ACF6-5C5C6AC90BD0}"/>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74" name="Freeform 25">
                  <a:extLst>
                    <a:ext uri="{FF2B5EF4-FFF2-40B4-BE49-F238E27FC236}">
                      <a16:creationId xmlns:a16="http://schemas.microsoft.com/office/drawing/2014/main" id="{94E62849-D07D-F31B-581B-955D03F6B51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69" name="Text Placeholder 112">
                <a:extLst>
                  <a:ext uri="{FF2B5EF4-FFF2-40B4-BE49-F238E27FC236}">
                    <a16:creationId xmlns:a16="http://schemas.microsoft.com/office/drawing/2014/main" id="{EFE9E73E-E708-B39D-5174-9E8F764C28E7}"/>
                  </a:ext>
                </a:extLst>
              </p:cNvPr>
              <p:cNvSpPr txBox="1">
                <a:spLocks/>
              </p:cNvSpPr>
              <p:nvPr/>
            </p:nvSpPr>
            <p:spPr>
              <a:xfrm>
                <a:off x="5447940" y="3486873"/>
                <a:ext cx="235642"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Sales</a:t>
                </a:r>
              </a:p>
            </p:txBody>
          </p:sp>
        </p:grpSp>
        <p:grpSp>
          <p:nvGrpSpPr>
            <p:cNvPr id="32" name="Group 31">
              <a:extLst>
                <a:ext uri="{FF2B5EF4-FFF2-40B4-BE49-F238E27FC236}">
                  <a16:creationId xmlns:a16="http://schemas.microsoft.com/office/drawing/2014/main" id="{7C3AD0A2-1442-AE3E-373E-FBA285493C4E}"/>
                </a:ext>
              </a:extLst>
            </p:cNvPr>
            <p:cNvGrpSpPr/>
            <p:nvPr/>
          </p:nvGrpSpPr>
          <p:grpSpPr>
            <a:xfrm>
              <a:off x="5439471" y="3544277"/>
              <a:ext cx="112289" cy="116842"/>
              <a:chOff x="3735764" y="4887712"/>
              <a:chExt cx="247650" cy="257690"/>
            </a:xfrm>
            <a:grpFill/>
          </p:grpSpPr>
          <p:sp>
            <p:nvSpPr>
              <p:cNvPr id="61" name="Freeform: Shape 60">
                <a:extLst>
                  <a:ext uri="{FF2B5EF4-FFF2-40B4-BE49-F238E27FC236}">
                    <a16:creationId xmlns:a16="http://schemas.microsoft.com/office/drawing/2014/main" id="{497BACB0-C5F7-9F9A-1187-61F61D4270F0}"/>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2" name="Freeform: Shape 61">
                <a:extLst>
                  <a:ext uri="{FF2B5EF4-FFF2-40B4-BE49-F238E27FC236}">
                    <a16:creationId xmlns:a16="http://schemas.microsoft.com/office/drawing/2014/main" id="{1A010E1E-7633-0D6B-06AE-901CD2844EB3}"/>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3" name="Freeform: Shape 62">
                <a:extLst>
                  <a:ext uri="{FF2B5EF4-FFF2-40B4-BE49-F238E27FC236}">
                    <a16:creationId xmlns:a16="http://schemas.microsoft.com/office/drawing/2014/main" id="{797E8EA4-1CF3-E279-F581-6A676F562F6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4" name="Freeform: Shape 63">
                <a:extLst>
                  <a:ext uri="{FF2B5EF4-FFF2-40B4-BE49-F238E27FC236}">
                    <a16:creationId xmlns:a16="http://schemas.microsoft.com/office/drawing/2014/main" id="{28DA984E-4CE0-78C9-3767-A22968DE1E78}"/>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5" name="Freeform: Shape 64">
                <a:extLst>
                  <a:ext uri="{FF2B5EF4-FFF2-40B4-BE49-F238E27FC236}">
                    <a16:creationId xmlns:a16="http://schemas.microsoft.com/office/drawing/2014/main" id="{7E9544F2-1AB4-326A-96BD-09C84B07BDD0}"/>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6" name="Freeform: Shape 65">
                <a:extLst>
                  <a:ext uri="{FF2B5EF4-FFF2-40B4-BE49-F238E27FC236}">
                    <a16:creationId xmlns:a16="http://schemas.microsoft.com/office/drawing/2014/main" id="{B96280A5-7F89-0F85-9CDC-A8763088CDC8}"/>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7" name="Freeform: Shape 66">
                <a:extLst>
                  <a:ext uri="{FF2B5EF4-FFF2-40B4-BE49-F238E27FC236}">
                    <a16:creationId xmlns:a16="http://schemas.microsoft.com/office/drawing/2014/main" id="{04366671-B7CF-C432-6B0D-2E043590D77C}"/>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33" name="Group 32">
              <a:extLst>
                <a:ext uri="{FF2B5EF4-FFF2-40B4-BE49-F238E27FC236}">
                  <a16:creationId xmlns:a16="http://schemas.microsoft.com/office/drawing/2014/main" id="{A4D1A05F-6550-3A9E-F822-B81B9C83048C}"/>
                </a:ext>
              </a:extLst>
            </p:cNvPr>
            <p:cNvGrpSpPr/>
            <p:nvPr/>
          </p:nvGrpSpPr>
          <p:grpSpPr>
            <a:xfrm>
              <a:off x="5666264" y="3542234"/>
              <a:ext cx="95015" cy="120928"/>
              <a:chOff x="3878639" y="6897922"/>
              <a:chExt cx="209550" cy="266701"/>
            </a:xfrm>
            <a:grpFill/>
          </p:grpSpPr>
          <p:sp>
            <p:nvSpPr>
              <p:cNvPr id="57" name="Freeform: Shape 56">
                <a:extLst>
                  <a:ext uri="{FF2B5EF4-FFF2-40B4-BE49-F238E27FC236}">
                    <a16:creationId xmlns:a16="http://schemas.microsoft.com/office/drawing/2014/main" id="{F4945674-7272-3768-1370-7603C450A610}"/>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60" name="Freeform: Shape 59">
                <a:extLst>
                  <a:ext uri="{FF2B5EF4-FFF2-40B4-BE49-F238E27FC236}">
                    <a16:creationId xmlns:a16="http://schemas.microsoft.com/office/drawing/2014/main" id="{B7CDDA33-0828-A75E-2442-80D02049166C}"/>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35" name="Group 34">
              <a:extLst>
                <a:ext uri="{FF2B5EF4-FFF2-40B4-BE49-F238E27FC236}">
                  <a16:creationId xmlns:a16="http://schemas.microsoft.com/office/drawing/2014/main" id="{DEE25806-3F83-F82C-8331-C1CE80794BFB}"/>
                </a:ext>
              </a:extLst>
            </p:cNvPr>
            <p:cNvGrpSpPr/>
            <p:nvPr/>
          </p:nvGrpSpPr>
          <p:grpSpPr>
            <a:xfrm>
              <a:off x="5207277" y="3544277"/>
              <a:ext cx="117689" cy="116843"/>
              <a:chOff x="5200133" y="3503044"/>
              <a:chExt cx="117689" cy="116843"/>
            </a:xfrm>
            <a:grpFill/>
          </p:grpSpPr>
          <p:sp>
            <p:nvSpPr>
              <p:cNvPr id="39" name="Freeform: Shape 38">
                <a:extLst>
                  <a:ext uri="{FF2B5EF4-FFF2-40B4-BE49-F238E27FC236}">
                    <a16:creationId xmlns:a16="http://schemas.microsoft.com/office/drawing/2014/main" id="{3487F0E8-B914-F5EF-45CF-03D9F322076A}"/>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48" name="Freeform: Shape 47">
                <a:extLst>
                  <a:ext uri="{FF2B5EF4-FFF2-40B4-BE49-F238E27FC236}">
                    <a16:creationId xmlns:a16="http://schemas.microsoft.com/office/drawing/2014/main" id="{27E8CACA-0E32-53D0-9A7C-16DEF71F0734}"/>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56" name="Freeform: Shape 55">
                <a:extLst>
                  <a:ext uri="{FF2B5EF4-FFF2-40B4-BE49-F238E27FC236}">
                    <a16:creationId xmlns:a16="http://schemas.microsoft.com/office/drawing/2014/main" id="{26636023-EC01-B8BA-1CB3-72C89247077E}"/>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75" name="Group 74">
            <a:extLst>
              <a:ext uri="{FF2B5EF4-FFF2-40B4-BE49-F238E27FC236}">
                <a16:creationId xmlns:a16="http://schemas.microsoft.com/office/drawing/2014/main" id="{0118A909-9C4B-822D-DA91-D2CE9F84041F}"/>
              </a:ext>
              <a:ext uri="{C183D7F6-B498-43B3-948B-1728B52AA6E4}">
                <adec:decorative xmlns:adec="http://schemas.microsoft.com/office/drawing/2017/decorative" val="1"/>
              </a:ext>
            </a:extLst>
          </p:cNvPr>
          <p:cNvGrpSpPr/>
          <p:nvPr/>
        </p:nvGrpSpPr>
        <p:grpSpPr>
          <a:xfrm>
            <a:off x="7010790" y="2063126"/>
            <a:ext cx="604414" cy="581271"/>
            <a:chOff x="6371073" y="2998004"/>
            <a:chExt cx="728729" cy="665158"/>
          </a:xfrm>
          <a:solidFill>
            <a:srgbClr val="0078D3">
              <a:lumMod val="20000"/>
              <a:lumOff val="80000"/>
            </a:srgbClr>
          </a:solidFill>
        </p:grpSpPr>
        <p:grpSp>
          <p:nvGrpSpPr>
            <p:cNvPr id="76" name="Group 75" descr="Finance">
              <a:extLst>
                <a:ext uri="{FF2B5EF4-FFF2-40B4-BE49-F238E27FC236}">
                  <a16:creationId xmlns:a16="http://schemas.microsoft.com/office/drawing/2014/main" id="{7593ADAF-4BC1-1575-02AD-4386058A5D0E}"/>
                </a:ext>
              </a:extLst>
            </p:cNvPr>
            <p:cNvGrpSpPr/>
            <p:nvPr/>
          </p:nvGrpSpPr>
          <p:grpSpPr>
            <a:xfrm>
              <a:off x="6371073" y="2998004"/>
              <a:ext cx="728729" cy="571049"/>
              <a:chOff x="5155850" y="3155058"/>
              <a:chExt cx="728729" cy="571049"/>
            </a:xfrm>
            <a:grpFill/>
          </p:grpSpPr>
          <p:grpSp>
            <p:nvGrpSpPr>
              <p:cNvPr id="95" name="Group 94">
                <a:extLst>
                  <a:ext uri="{FF2B5EF4-FFF2-40B4-BE49-F238E27FC236}">
                    <a16:creationId xmlns:a16="http://schemas.microsoft.com/office/drawing/2014/main" id="{1E339D51-FDE0-57C1-DB4B-B7F2F72B2087}"/>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97" name="Freeform 24">
                  <a:extLst>
                    <a:ext uri="{FF2B5EF4-FFF2-40B4-BE49-F238E27FC236}">
                      <a16:creationId xmlns:a16="http://schemas.microsoft.com/office/drawing/2014/main" id="{9A9868FD-1183-3BCB-7866-F442CF9FB1C2}"/>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99" name="Freeform 25">
                  <a:extLst>
                    <a:ext uri="{FF2B5EF4-FFF2-40B4-BE49-F238E27FC236}">
                      <a16:creationId xmlns:a16="http://schemas.microsoft.com/office/drawing/2014/main" id="{3AEA39F1-0B13-7739-7AB7-666DD63AB6DC}"/>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96" name="Text Placeholder 112">
                <a:extLst>
                  <a:ext uri="{FF2B5EF4-FFF2-40B4-BE49-F238E27FC236}">
                    <a16:creationId xmlns:a16="http://schemas.microsoft.com/office/drawing/2014/main" id="{629897EE-8E7B-F147-072B-ECCD01F0BE83}"/>
                  </a:ext>
                </a:extLst>
              </p:cNvPr>
              <p:cNvSpPr txBox="1">
                <a:spLocks/>
              </p:cNvSpPr>
              <p:nvPr/>
            </p:nvSpPr>
            <p:spPr>
              <a:xfrm>
                <a:off x="5325313" y="3486873"/>
                <a:ext cx="480901"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Marketing</a:t>
                </a:r>
              </a:p>
            </p:txBody>
          </p:sp>
        </p:grpSp>
        <p:grpSp>
          <p:nvGrpSpPr>
            <p:cNvPr id="77" name="Group 76">
              <a:extLst>
                <a:ext uri="{FF2B5EF4-FFF2-40B4-BE49-F238E27FC236}">
                  <a16:creationId xmlns:a16="http://schemas.microsoft.com/office/drawing/2014/main" id="{15E86AA0-1F4A-A2E0-03C4-09078E28016D}"/>
                </a:ext>
              </a:extLst>
            </p:cNvPr>
            <p:cNvGrpSpPr/>
            <p:nvPr/>
          </p:nvGrpSpPr>
          <p:grpSpPr>
            <a:xfrm>
              <a:off x="6684015" y="3544277"/>
              <a:ext cx="112289" cy="116842"/>
              <a:chOff x="3735764" y="4887712"/>
              <a:chExt cx="247650" cy="257690"/>
            </a:xfrm>
            <a:grpFill/>
          </p:grpSpPr>
          <p:sp>
            <p:nvSpPr>
              <p:cNvPr id="88" name="Freeform: Shape 87">
                <a:extLst>
                  <a:ext uri="{FF2B5EF4-FFF2-40B4-BE49-F238E27FC236}">
                    <a16:creationId xmlns:a16="http://schemas.microsoft.com/office/drawing/2014/main" id="{B42D562E-B875-8D6E-5E86-1491987D0F36}"/>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9" name="Freeform: Shape 88">
                <a:extLst>
                  <a:ext uri="{FF2B5EF4-FFF2-40B4-BE49-F238E27FC236}">
                    <a16:creationId xmlns:a16="http://schemas.microsoft.com/office/drawing/2014/main" id="{415D29BB-6332-847D-8B24-5DFC252F5038}"/>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0" name="Freeform: Shape 89">
                <a:extLst>
                  <a:ext uri="{FF2B5EF4-FFF2-40B4-BE49-F238E27FC236}">
                    <a16:creationId xmlns:a16="http://schemas.microsoft.com/office/drawing/2014/main" id="{4B67411E-5097-72B1-3E46-B1FAEC7CB725}"/>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1" name="Freeform: Shape 90">
                <a:extLst>
                  <a:ext uri="{FF2B5EF4-FFF2-40B4-BE49-F238E27FC236}">
                    <a16:creationId xmlns:a16="http://schemas.microsoft.com/office/drawing/2014/main" id="{B7F96843-4E36-C490-7C51-6F28D2962B3D}"/>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2" name="Freeform: Shape 91">
                <a:extLst>
                  <a:ext uri="{FF2B5EF4-FFF2-40B4-BE49-F238E27FC236}">
                    <a16:creationId xmlns:a16="http://schemas.microsoft.com/office/drawing/2014/main" id="{3A3AB64B-C9DC-A7E4-0D29-237299AB4EDA}"/>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3" name="Freeform: Shape 92">
                <a:extLst>
                  <a:ext uri="{FF2B5EF4-FFF2-40B4-BE49-F238E27FC236}">
                    <a16:creationId xmlns:a16="http://schemas.microsoft.com/office/drawing/2014/main" id="{9AE5CBB4-F0CB-A871-F295-F8A863E0EBAE}"/>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94" name="Freeform: Shape 93">
                <a:extLst>
                  <a:ext uri="{FF2B5EF4-FFF2-40B4-BE49-F238E27FC236}">
                    <a16:creationId xmlns:a16="http://schemas.microsoft.com/office/drawing/2014/main" id="{0E9931F1-8E2B-06F0-1F7B-07EFB4082CCD}"/>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79" name="Group 78">
              <a:extLst>
                <a:ext uri="{FF2B5EF4-FFF2-40B4-BE49-F238E27FC236}">
                  <a16:creationId xmlns:a16="http://schemas.microsoft.com/office/drawing/2014/main" id="{680D22E7-136E-789F-8FCC-87230DED8DAD}"/>
                </a:ext>
              </a:extLst>
            </p:cNvPr>
            <p:cNvGrpSpPr/>
            <p:nvPr/>
          </p:nvGrpSpPr>
          <p:grpSpPr>
            <a:xfrm>
              <a:off x="6910808" y="3542234"/>
              <a:ext cx="95015" cy="120928"/>
              <a:chOff x="3878639" y="6897922"/>
              <a:chExt cx="209550" cy="266701"/>
            </a:xfrm>
            <a:grpFill/>
          </p:grpSpPr>
          <p:sp>
            <p:nvSpPr>
              <p:cNvPr id="84" name="Freeform: Shape 83">
                <a:extLst>
                  <a:ext uri="{FF2B5EF4-FFF2-40B4-BE49-F238E27FC236}">
                    <a16:creationId xmlns:a16="http://schemas.microsoft.com/office/drawing/2014/main" id="{7472886D-6FBE-8653-B4E9-F0DFF0EB20C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6" name="Freeform: Shape 85">
                <a:extLst>
                  <a:ext uri="{FF2B5EF4-FFF2-40B4-BE49-F238E27FC236}">
                    <a16:creationId xmlns:a16="http://schemas.microsoft.com/office/drawing/2014/main" id="{6135F1B6-1867-AD7D-359A-8BB9D795315E}"/>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80" name="Group 79">
              <a:extLst>
                <a:ext uri="{FF2B5EF4-FFF2-40B4-BE49-F238E27FC236}">
                  <a16:creationId xmlns:a16="http://schemas.microsoft.com/office/drawing/2014/main" id="{21C0590F-0D6A-5AFB-6DC1-E35BE232E959}"/>
                </a:ext>
              </a:extLst>
            </p:cNvPr>
            <p:cNvGrpSpPr/>
            <p:nvPr/>
          </p:nvGrpSpPr>
          <p:grpSpPr>
            <a:xfrm>
              <a:off x="6451821" y="3544277"/>
              <a:ext cx="117689" cy="116843"/>
              <a:chOff x="5200133" y="3503044"/>
              <a:chExt cx="117689" cy="116843"/>
            </a:xfrm>
            <a:grpFill/>
          </p:grpSpPr>
          <p:sp>
            <p:nvSpPr>
              <p:cNvPr id="81" name="Freeform: Shape 80">
                <a:extLst>
                  <a:ext uri="{FF2B5EF4-FFF2-40B4-BE49-F238E27FC236}">
                    <a16:creationId xmlns:a16="http://schemas.microsoft.com/office/drawing/2014/main" id="{880B7FA2-3F76-516A-922C-FF5B37DD9A37}"/>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2" name="Freeform: Shape 81">
                <a:extLst>
                  <a:ext uri="{FF2B5EF4-FFF2-40B4-BE49-F238E27FC236}">
                    <a16:creationId xmlns:a16="http://schemas.microsoft.com/office/drawing/2014/main" id="{4A3C363A-BCC6-57BE-FE38-2E995743174C}"/>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83" name="Freeform: Shape 82">
                <a:extLst>
                  <a:ext uri="{FF2B5EF4-FFF2-40B4-BE49-F238E27FC236}">
                    <a16:creationId xmlns:a16="http://schemas.microsoft.com/office/drawing/2014/main" id="{8B997CF8-B6F0-12E8-BCF3-9134DD3F68F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03" name="Group 102">
            <a:extLst>
              <a:ext uri="{FF2B5EF4-FFF2-40B4-BE49-F238E27FC236}">
                <a16:creationId xmlns:a16="http://schemas.microsoft.com/office/drawing/2014/main" id="{47E8BC5A-3916-345F-0090-C7B374CB43E2}"/>
              </a:ext>
              <a:ext uri="{C183D7F6-B498-43B3-948B-1728B52AA6E4}">
                <adec:decorative xmlns:adec="http://schemas.microsoft.com/office/drawing/2017/decorative" val="1"/>
              </a:ext>
            </a:extLst>
          </p:cNvPr>
          <p:cNvGrpSpPr/>
          <p:nvPr/>
        </p:nvGrpSpPr>
        <p:grpSpPr>
          <a:xfrm>
            <a:off x="8626216" y="2063408"/>
            <a:ext cx="604414" cy="581271"/>
            <a:chOff x="9272931" y="2998004"/>
            <a:chExt cx="728729" cy="665158"/>
          </a:xfrm>
          <a:solidFill>
            <a:srgbClr val="0078D3">
              <a:lumMod val="20000"/>
              <a:lumOff val="80000"/>
            </a:srgbClr>
          </a:solidFill>
        </p:grpSpPr>
        <p:grpSp>
          <p:nvGrpSpPr>
            <p:cNvPr id="105" name="Group 104" descr="Marketing">
              <a:extLst>
                <a:ext uri="{FF2B5EF4-FFF2-40B4-BE49-F238E27FC236}">
                  <a16:creationId xmlns:a16="http://schemas.microsoft.com/office/drawing/2014/main" id="{374F1332-60C8-60E7-538A-1D279746C17B}"/>
                </a:ext>
              </a:extLst>
            </p:cNvPr>
            <p:cNvGrpSpPr/>
            <p:nvPr/>
          </p:nvGrpSpPr>
          <p:grpSpPr>
            <a:xfrm>
              <a:off x="9272931" y="2998004"/>
              <a:ext cx="728729" cy="571049"/>
              <a:chOff x="5155850" y="3155058"/>
              <a:chExt cx="728729" cy="571049"/>
            </a:xfrm>
            <a:grpFill/>
          </p:grpSpPr>
          <p:grpSp>
            <p:nvGrpSpPr>
              <p:cNvPr id="134" name="Group 133">
                <a:extLst>
                  <a:ext uri="{FF2B5EF4-FFF2-40B4-BE49-F238E27FC236}">
                    <a16:creationId xmlns:a16="http://schemas.microsoft.com/office/drawing/2014/main" id="{A98D6319-C578-E562-95D2-9BE5B9C43964}"/>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42" name="Freeform 24">
                  <a:extLst>
                    <a:ext uri="{FF2B5EF4-FFF2-40B4-BE49-F238E27FC236}">
                      <a16:creationId xmlns:a16="http://schemas.microsoft.com/office/drawing/2014/main" id="{4E239CD9-FD0A-25B0-B0AE-B0100FE71179}"/>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43" name="Freeform 25">
                  <a:extLst>
                    <a:ext uri="{FF2B5EF4-FFF2-40B4-BE49-F238E27FC236}">
                      <a16:creationId xmlns:a16="http://schemas.microsoft.com/office/drawing/2014/main" id="{AF07ECFE-67CA-A065-20B8-51D6B38BF5E6}"/>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41" name="Text Placeholder 112">
                <a:extLst>
                  <a:ext uri="{FF2B5EF4-FFF2-40B4-BE49-F238E27FC236}">
                    <a16:creationId xmlns:a16="http://schemas.microsoft.com/office/drawing/2014/main" id="{3607DB89-3A12-0300-CF38-B7AC747302E7}"/>
                  </a:ext>
                </a:extLst>
              </p:cNvPr>
              <p:cNvSpPr txBox="1">
                <a:spLocks/>
              </p:cNvSpPr>
              <p:nvPr/>
            </p:nvSpPr>
            <p:spPr>
              <a:xfrm>
                <a:off x="5308480" y="3486873"/>
                <a:ext cx="514564"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Operations</a:t>
                </a:r>
              </a:p>
            </p:txBody>
          </p:sp>
        </p:grpSp>
        <p:grpSp>
          <p:nvGrpSpPr>
            <p:cNvPr id="107" name="Group 106">
              <a:extLst>
                <a:ext uri="{FF2B5EF4-FFF2-40B4-BE49-F238E27FC236}">
                  <a16:creationId xmlns:a16="http://schemas.microsoft.com/office/drawing/2014/main" id="{A43ED8D1-B03C-9082-FC0B-09D8B8009F78}"/>
                </a:ext>
              </a:extLst>
            </p:cNvPr>
            <p:cNvGrpSpPr/>
            <p:nvPr/>
          </p:nvGrpSpPr>
          <p:grpSpPr>
            <a:xfrm>
              <a:off x="9570962" y="3544277"/>
              <a:ext cx="112289" cy="116842"/>
              <a:chOff x="3735764" y="4887712"/>
              <a:chExt cx="247650" cy="257690"/>
            </a:xfrm>
            <a:grpFill/>
          </p:grpSpPr>
          <p:sp>
            <p:nvSpPr>
              <p:cNvPr id="125" name="Freeform: Shape 124">
                <a:extLst>
                  <a:ext uri="{FF2B5EF4-FFF2-40B4-BE49-F238E27FC236}">
                    <a16:creationId xmlns:a16="http://schemas.microsoft.com/office/drawing/2014/main" id="{F72D5999-F376-6F09-523F-A00579FB02FC}"/>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6" name="Freeform: Shape 125">
                <a:extLst>
                  <a:ext uri="{FF2B5EF4-FFF2-40B4-BE49-F238E27FC236}">
                    <a16:creationId xmlns:a16="http://schemas.microsoft.com/office/drawing/2014/main" id="{AF40E8C2-F068-B9A9-6017-B1B7968D9468}"/>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7" name="Freeform: Shape 126">
                <a:extLst>
                  <a:ext uri="{FF2B5EF4-FFF2-40B4-BE49-F238E27FC236}">
                    <a16:creationId xmlns:a16="http://schemas.microsoft.com/office/drawing/2014/main" id="{0E80D1F4-47BB-DB60-82D1-190D065197C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8" name="Freeform: Shape 127">
                <a:extLst>
                  <a:ext uri="{FF2B5EF4-FFF2-40B4-BE49-F238E27FC236}">
                    <a16:creationId xmlns:a16="http://schemas.microsoft.com/office/drawing/2014/main" id="{CF69EB82-C9F7-B988-EB5F-1D876E305A95}"/>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9" name="Freeform: Shape 128">
                <a:extLst>
                  <a:ext uri="{FF2B5EF4-FFF2-40B4-BE49-F238E27FC236}">
                    <a16:creationId xmlns:a16="http://schemas.microsoft.com/office/drawing/2014/main" id="{EEF48CB2-62D5-D178-0DA9-5735629E510F}"/>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32" name="Freeform: Shape 131">
                <a:extLst>
                  <a:ext uri="{FF2B5EF4-FFF2-40B4-BE49-F238E27FC236}">
                    <a16:creationId xmlns:a16="http://schemas.microsoft.com/office/drawing/2014/main" id="{55715EB8-E9E6-F67A-F17B-6599DAEBBDD7}"/>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33" name="Freeform: Shape 132">
                <a:extLst>
                  <a:ext uri="{FF2B5EF4-FFF2-40B4-BE49-F238E27FC236}">
                    <a16:creationId xmlns:a16="http://schemas.microsoft.com/office/drawing/2014/main" id="{7BDF7331-4A20-1111-99AD-0A9BA2477648}"/>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09" name="Group 108">
              <a:extLst>
                <a:ext uri="{FF2B5EF4-FFF2-40B4-BE49-F238E27FC236}">
                  <a16:creationId xmlns:a16="http://schemas.microsoft.com/office/drawing/2014/main" id="{A8F88EDE-6903-4248-2BA6-E35F130C97B1}"/>
                </a:ext>
              </a:extLst>
            </p:cNvPr>
            <p:cNvGrpSpPr/>
            <p:nvPr/>
          </p:nvGrpSpPr>
          <p:grpSpPr>
            <a:xfrm>
              <a:off x="9797755" y="3542234"/>
              <a:ext cx="95015" cy="120928"/>
              <a:chOff x="3878639" y="6897922"/>
              <a:chExt cx="209550" cy="266701"/>
            </a:xfrm>
            <a:grpFill/>
          </p:grpSpPr>
          <p:sp>
            <p:nvSpPr>
              <p:cNvPr id="120" name="Freeform: Shape 119">
                <a:extLst>
                  <a:ext uri="{FF2B5EF4-FFF2-40B4-BE49-F238E27FC236}">
                    <a16:creationId xmlns:a16="http://schemas.microsoft.com/office/drawing/2014/main" id="{A6740D3D-0187-1D1F-BF2A-BF2E8B190FFD}"/>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22" name="Freeform: Shape 121">
                <a:extLst>
                  <a:ext uri="{FF2B5EF4-FFF2-40B4-BE49-F238E27FC236}">
                    <a16:creationId xmlns:a16="http://schemas.microsoft.com/office/drawing/2014/main" id="{6C0A1CB8-E55B-E731-6DCB-CCBACF525DFD}"/>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11" name="Group 110">
              <a:extLst>
                <a:ext uri="{FF2B5EF4-FFF2-40B4-BE49-F238E27FC236}">
                  <a16:creationId xmlns:a16="http://schemas.microsoft.com/office/drawing/2014/main" id="{F9F9D175-314E-83BB-DFCF-66E3A6370816}"/>
                </a:ext>
              </a:extLst>
            </p:cNvPr>
            <p:cNvGrpSpPr/>
            <p:nvPr/>
          </p:nvGrpSpPr>
          <p:grpSpPr>
            <a:xfrm>
              <a:off x="9338768" y="3544277"/>
              <a:ext cx="117689" cy="116843"/>
              <a:chOff x="5200133" y="3503044"/>
              <a:chExt cx="117689" cy="116843"/>
            </a:xfrm>
            <a:grpFill/>
          </p:grpSpPr>
          <p:sp>
            <p:nvSpPr>
              <p:cNvPr id="113" name="Freeform: Shape 112">
                <a:extLst>
                  <a:ext uri="{FF2B5EF4-FFF2-40B4-BE49-F238E27FC236}">
                    <a16:creationId xmlns:a16="http://schemas.microsoft.com/office/drawing/2014/main" id="{89AB514E-A34E-E3BF-56AB-CEE9E63D277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15" name="Freeform: Shape 114">
                <a:extLst>
                  <a:ext uri="{FF2B5EF4-FFF2-40B4-BE49-F238E27FC236}">
                    <a16:creationId xmlns:a16="http://schemas.microsoft.com/office/drawing/2014/main" id="{64371EC6-1DAD-71EA-279C-C649CA1C2769}"/>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18" name="Freeform: Shape 117">
                <a:extLst>
                  <a:ext uri="{FF2B5EF4-FFF2-40B4-BE49-F238E27FC236}">
                    <a16:creationId xmlns:a16="http://schemas.microsoft.com/office/drawing/2014/main" id="{522ED8EC-04F2-FA60-112D-6E2AD126968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44" name="Group 143">
            <a:extLst>
              <a:ext uri="{FF2B5EF4-FFF2-40B4-BE49-F238E27FC236}">
                <a16:creationId xmlns:a16="http://schemas.microsoft.com/office/drawing/2014/main" id="{BA4BAC6D-C3BF-5AF5-438A-639C3CC83B29}"/>
              </a:ext>
              <a:ext uri="{C183D7F6-B498-43B3-948B-1728B52AA6E4}">
                <adec:decorative xmlns:adec="http://schemas.microsoft.com/office/drawing/2017/decorative" val="1"/>
              </a:ext>
            </a:extLst>
          </p:cNvPr>
          <p:cNvGrpSpPr/>
          <p:nvPr/>
        </p:nvGrpSpPr>
        <p:grpSpPr>
          <a:xfrm>
            <a:off x="9449119" y="2063408"/>
            <a:ext cx="604414" cy="581271"/>
            <a:chOff x="10405869" y="2998004"/>
            <a:chExt cx="728729" cy="665158"/>
          </a:xfrm>
          <a:solidFill>
            <a:srgbClr val="0078D3">
              <a:lumMod val="20000"/>
              <a:lumOff val="80000"/>
            </a:srgbClr>
          </a:solidFill>
        </p:grpSpPr>
        <p:grpSp>
          <p:nvGrpSpPr>
            <p:cNvPr id="145" name="Group 144" descr="Sales">
              <a:extLst>
                <a:ext uri="{FF2B5EF4-FFF2-40B4-BE49-F238E27FC236}">
                  <a16:creationId xmlns:a16="http://schemas.microsoft.com/office/drawing/2014/main" id="{984BDFD0-DA65-126D-27C3-8FDBD105B87F}"/>
                </a:ext>
              </a:extLst>
            </p:cNvPr>
            <p:cNvGrpSpPr/>
            <p:nvPr/>
          </p:nvGrpSpPr>
          <p:grpSpPr>
            <a:xfrm>
              <a:off x="10405869" y="2998004"/>
              <a:ext cx="728729" cy="571049"/>
              <a:chOff x="5155850" y="3155058"/>
              <a:chExt cx="728729" cy="571049"/>
            </a:xfrm>
            <a:grpFill/>
          </p:grpSpPr>
          <p:grpSp>
            <p:nvGrpSpPr>
              <p:cNvPr id="161" name="Group 160">
                <a:extLst>
                  <a:ext uri="{FF2B5EF4-FFF2-40B4-BE49-F238E27FC236}">
                    <a16:creationId xmlns:a16="http://schemas.microsoft.com/office/drawing/2014/main" id="{0531C03F-A550-D588-8FFB-FC95576FCC1C}"/>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63" name="Freeform 24">
                  <a:extLst>
                    <a:ext uri="{FF2B5EF4-FFF2-40B4-BE49-F238E27FC236}">
                      <a16:creationId xmlns:a16="http://schemas.microsoft.com/office/drawing/2014/main" id="{73EFEE73-8184-950A-DEFA-4FFB378F09B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64" name="Freeform 25">
                  <a:extLst>
                    <a:ext uri="{FF2B5EF4-FFF2-40B4-BE49-F238E27FC236}">
                      <a16:creationId xmlns:a16="http://schemas.microsoft.com/office/drawing/2014/main" id="{93D5989D-117E-807B-2292-A73E36288F8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62" name="Text Placeholder 112">
                <a:extLst>
                  <a:ext uri="{FF2B5EF4-FFF2-40B4-BE49-F238E27FC236}">
                    <a16:creationId xmlns:a16="http://schemas.microsoft.com/office/drawing/2014/main" id="{B6FAE835-00D0-207F-0216-0C2DAB62A980}"/>
                  </a:ext>
                </a:extLst>
              </p:cNvPr>
              <p:cNvSpPr txBox="1">
                <a:spLocks/>
              </p:cNvSpPr>
              <p:nvPr/>
            </p:nvSpPr>
            <p:spPr>
              <a:xfrm>
                <a:off x="5389431" y="3486873"/>
                <a:ext cx="352661" cy="123111"/>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Finance</a:t>
                </a:r>
              </a:p>
            </p:txBody>
          </p:sp>
        </p:grpSp>
        <p:grpSp>
          <p:nvGrpSpPr>
            <p:cNvPr id="146" name="Group 145">
              <a:extLst>
                <a:ext uri="{FF2B5EF4-FFF2-40B4-BE49-F238E27FC236}">
                  <a16:creationId xmlns:a16="http://schemas.microsoft.com/office/drawing/2014/main" id="{289DA310-2503-2B1B-841A-5FB4A422EE98}"/>
                </a:ext>
              </a:extLst>
            </p:cNvPr>
            <p:cNvGrpSpPr/>
            <p:nvPr/>
          </p:nvGrpSpPr>
          <p:grpSpPr>
            <a:xfrm>
              <a:off x="10705474" y="3544277"/>
              <a:ext cx="112289" cy="116842"/>
              <a:chOff x="3735764" y="4887712"/>
              <a:chExt cx="247650" cy="257690"/>
            </a:xfrm>
            <a:grpFill/>
          </p:grpSpPr>
          <p:sp>
            <p:nvSpPr>
              <p:cNvPr id="154" name="Freeform: Shape 153">
                <a:extLst>
                  <a:ext uri="{FF2B5EF4-FFF2-40B4-BE49-F238E27FC236}">
                    <a16:creationId xmlns:a16="http://schemas.microsoft.com/office/drawing/2014/main" id="{0CA162F5-214E-8F64-B3C4-07C3C5913AA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5" name="Freeform: Shape 154">
                <a:extLst>
                  <a:ext uri="{FF2B5EF4-FFF2-40B4-BE49-F238E27FC236}">
                    <a16:creationId xmlns:a16="http://schemas.microsoft.com/office/drawing/2014/main" id="{0CC98010-A9A9-11D2-76B3-12ECBCE9C4E3}"/>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6" name="Freeform: Shape 155">
                <a:extLst>
                  <a:ext uri="{FF2B5EF4-FFF2-40B4-BE49-F238E27FC236}">
                    <a16:creationId xmlns:a16="http://schemas.microsoft.com/office/drawing/2014/main" id="{CB4FEF3F-6C69-A577-E9B1-A82515D0D657}"/>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7" name="Freeform: Shape 156">
                <a:extLst>
                  <a:ext uri="{FF2B5EF4-FFF2-40B4-BE49-F238E27FC236}">
                    <a16:creationId xmlns:a16="http://schemas.microsoft.com/office/drawing/2014/main" id="{0CC23BEA-6C2C-9585-F9A3-A0CABEB80A95}"/>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8" name="Freeform: Shape 157">
                <a:extLst>
                  <a:ext uri="{FF2B5EF4-FFF2-40B4-BE49-F238E27FC236}">
                    <a16:creationId xmlns:a16="http://schemas.microsoft.com/office/drawing/2014/main" id="{CDA5D241-9F0A-BB2B-4F91-A42CC43F4FCA}"/>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9" name="Freeform: Shape 158">
                <a:extLst>
                  <a:ext uri="{FF2B5EF4-FFF2-40B4-BE49-F238E27FC236}">
                    <a16:creationId xmlns:a16="http://schemas.microsoft.com/office/drawing/2014/main" id="{C76E8FA1-AD46-F7B3-08B4-4B8C441C6086}"/>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60" name="Freeform: Shape 159">
                <a:extLst>
                  <a:ext uri="{FF2B5EF4-FFF2-40B4-BE49-F238E27FC236}">
                    <a16:creationId xmlns:a16="http://schemas.microsoft.com/office/drawing/2014/main" id="{997B387A-1287-2B27-C1D6-22F0B81E51FF}"/>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47" name="Group 146">
              <a:extLst>
                <a:ext uri="{FF2B5EF4-FFF2-40B4-BE49-F238E27FC236}">
                  <a16:creationId xmlns:a16="http://schemas.microsoft.com/office/drawing/2014/main" id="{3764599D-6A56-52F1-DF68-74FB41D2312C}"/>
                </a:ext>
              </a:extLst>
            </p:cNvPr>
            <p:cNvGrpSpPr/>
            <p:nvPr/>
          </p:nvGrpSpPr>
          <p:grpSpPr>
            <a:xfrm>
              <a:off x="10932267" y="3542234"/>
              <a:ext cx="95015" cy="120928"/>
              <a:chOff x="3878639" y="6897922"/>
              <a:chExt cx="209550" cy="266701"/>
            </a:xfrm>
            <a:grpFill/>
          </p:grpSpPr>
          <p:sp>
            <p:nvSpPr>
              <p:cNvPr id="152" name="Freeform: Shape 151">
                <a:extLst>
                  <a:ext uri="{FF2B5EF4-FFF2-40B4-BE49-F238E27FC236}">
                    <a16:creationId xmlns:a16="http://schemas.microsoft.com/office/drawing/2014/main" id="{CCCED026-CB11-B6FC-DF14-0183073765A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3" name="Freeform: Shape 152">
                <a:extLst>
                  <a:ext uri="{FF2B5EF4-FFF2-40B4-BE49-F238E27FC236}">
                    <a16:creationId xmlns:a16="http://schemas.microsoft.com/office/drawing/2014/main" id="{98241580-7EAB-7207-E0B9-84437FF00513}"/>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48" name="Group 147">
              <a:extLst>
                <a:ext uri="{FF2B5EF4-FFF2-40B4-BE49-F238E27FC236}">
                  <a16:creationId xmlns:a16="http://schemas.microsoft.com/office/drawing/2014/main" id="{B59DA5B2-85C0-3B4E-8433-E2570B738CB7}"/>
                </a:ext>
              </a:extLst>
            </p:cNvPr>
            <p:cNvGrpSpPr/>
            <p:nvPr/>
          </p:nvGrpSpPr>
          <p:grpSpPr>
            <a:xfrm>
              <a:off x="10473280" y="3544277"/>
              <a:ext cx="117689" cy="116843"/>
              <a:chOff x="5200133" y="3503044"/>
              <a:chExt cx="117689" cy="116843"/>
            </a:xfrm>
            <a:grpFill/>
          </p:grpSpPr>
          <p:sp>
            <p:nvSpPr>
              <p:cNvPr id="149" name="Freeform: Shape 148">
                <a:extLst>
                  <a:ext uri="{FF2B5EF4-FFF2-40B4-BE49-F238E27FC236}">
                    <a16:creationId xmlns:a16="http://schemas.microsoft.com/office/drawing/2014/main" id="{CFEF13C8-4D7D-391D-F5EA-097842A2518E}"/>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0" name="Freeform: Shape 149">
                <a:extLst>
                  <a:ext uri="{FF2B5EF4-FFF2-40B4-BE49-F238E27FC236}">
                    <a16:creationId xmlns:a16="http://schemas.microsoft.com/office/drawing/2014/main" id="{50B90143-E70D-2CAF-FC2B-06983A75F793}"/>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51" name="Freeform: Shape 150">
                <a:extLst>
                  <a:ext uri="{FF2B5EF4-FFF2-40B4-BE49-F238E27FC236}">
                    <a16:creationId xmlns:a16="http://schemas.microsoft.com/office/drawing/2014/main" id="{504DAB0D-6D57-A31A-F3AD-403875281061}"/>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65" name="Group 164">
            <a:extLst>
              <a:ext uri="{FF2B5EF4-FFF2-40B4-BE49-F238E27FC236}">
                <a16:creationId xmlns:a16="http://schemas.microsoft.com/office/drawing/2014/main" id="{4785D5A2-5BA5-5E60-7559-2ABCA258C8FA}"/>
              </a:ext>
              <a:ext uri="{C183D7F6-B498-43B3-948B-1728B52AA6E4}">
                <adec:decorative xmlns:adec="http://schemas.microsoft.com/office/drawing/2017/decorative" val="1"/>
              </a:ext>
            </a:extLst>
          </p:cNvPr>
          <p:cNvGrpSpPr/>
          <p:nvPr/>
        </p:nvGrpSpPr>
        <p:grpSpPr>
          <a:xfrm>
            <a:off x="7815670" y="2063126"/>
            <a:ext cx="604414" cy="581271"/>
            <a:chOff x="6371073" y="2998004"/>
            <a:chExt cx="728729" cy="665158"/>
          </a:xfrm>
          <a:solidFill>
            <a:srgbClr val="0078D3">
              <a:lumMod val="20000"/>
              <a:lumOff val="80000"/>
            </a:srgbClr>
          </a:solidFill>
        </p:grpSpPr>
        <p:grpSp>
          <p:nvGrpSpPr>
            <p:cNvPr id="166" name="Group 165" descr="Finance">
              <a:extLst>
                <a:ext uri="{FF2B5EF4-FFF2-40B4-BE49-F238E27FC236}">
                  <a16:creationId xmlns:a16="http://schemas.microsoft.com/office/drawing/2014/main" id="{BAFE9E44-F1B7-A1C2-1126-737B904D17F1}"/>
                </a:ext>
              </a:extLst>
            </p:cNvPr>
            <p:cNvGrpSpPr/>
            <p:nvPr/>
          </p:nvGrpSpPr>
          <p:grpSpPr>
            <a:xfrm>
              <a:off x="6371073" y="2998004"/>
              <a:ext cx="728729" cy="571049"/>
              <a:chOff x="5155850" y="3155058"/>
              <a:chExt cx="728729" cy="571049"/>
            </a:xfrm>
            <a:grpFill/>
          </p:grpSpPr>
          <p:grpSp>
            <p:nvGrpSpPr>
              <p:cNvPr id="182" name="Group 181">
                <a:extLst>
                  <a:ext uri="{FF2B5EF4-FFF2-40B4-BE49-F238E27FC236}">
                    <a16:creationId xmlns:a16="http://schemas.microsoft.com/office/drawing/2014/main" id="{A4087CD0-82BD-9844-40C4-4A3F4DEAEB5D}"/>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184" name="Freeform 24">
                  <a:extLst>
                    <a:ext uri="{FF2B5EF4-FFF2-40B4-BE49-F238E27FC236}">
                      <a16:creationId xmlns:a16="http://schemas.microsoft.com/office/drawing/2014/main" id="{28247A33-E4E9-DBD2-CA71-E1B96ED22E81}"/>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85" name="Freeform 25">
                  <a:extLst>
                    <a:ext uri="{FF2B5EF4-FFF2-40B4-BE49-F238E27FC236}">
                      <a16:creationId xmlns:a16="http://schemas.microsoft.com/office/drawing/2014/main" id="{AE6D40EB-CF0F-0D15-179C-41273BD23789}"/>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183" name="Text Placeholder 112">
                <a:extLst>
                  <a:ext uri="{FF2B5EF4-FFF2-40B4-BE49-F238E27FC236}">
                    <a16:creationId xmlns:a16="http://schemas.microsoft.com/office/drawing/2014/main" id="{C1F8AEE2-2F5F-8C22-048C-1030CFB56A73}"/>
                  </a:ext>
                </a:extLst>
              </p:cNvPr>
              <p:cNvSpPr txBox="1">
                <a:spLocks/>
              </p:cNvSpPr>
              <p:nvPr/>
            </p:nvSpPr>
            <p:spPr>
              <a:xfrm>
                <a:off x="5330972" y="3425161"/>
                <a:ext cx="469590" cy="246535"/>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Human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Resources</a:t>
                </a:r>
              </a:p>
            </p:txBody>
          </p:sp>
        </p:grpSp>
        <p:grpSp>
          <p:nvGrpSpPr>
            <p:cNvPr id="167" name="Group 166">
              <a:extLst>
                <a:ext uri="{FF2B5EF4-FFF2-40B4-BE49-F238E27FC236}">
                  <a16:creationId xmlns:a16="http://schemas.microsoft.com/office/drawing/2014/main" id="{911086D5-08D9-2709-1B9F-DB4006CE1BFF}"/>
                </a:ext>
              </a:extLst>
            </p:cNvPr>
            <p:cNvGrpSpPr/>
            <p:nvPr/>
          </p:nvGrpSpPr>
          <p:grpSpPr>
            <a:xfrm>
              <a:off x="6684015" y="3544277"/>
              <a:ext cx="112289" cy="116842"/>
              <a:chOff x="3735764" y="4887712"/>
              <a:chExt cx="247650" cy="257690"/>
            </a:xfrm>
            <a:grpFill/>
          </p:grpSpPr>
          <p:sp>
            <p:nvSpPr>
              <p:cNvPr id="175" name="Freeform: Shape 174">
                <a:extLst>
                  <a:ext uri="{FF2B5EF4-FFF2-40B4-BE49-F238E27FC236}">
                    <a16:creationId xmlns:a16="http://schemas.microsoft.com/office/drawing/2014/main" id="{8BC3EDD9-E3D4-0ACD-91F5-D29B24A1B181}"/>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6" name="Freeform: Shape 175">
                <a:extLst>
                  <a:ext uri="{FF2B5EF4-FFF2-40B4-BE49-F238E27FC236}">
                    <a16:creationId xmlns:a16="http://schemas.microsoft.com/office/drawing/2014/main" id="{EE0A1C92-79B2-1D18-ECE2-5DB372181BE6}"/>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7" name="Freeform: Shape 176">
                <a:extLst>
                  <a:ext uri="{FF2B5EF4-FFF2-40B4-BE49-F238E27FC236}">
                    <a16:creationId xmlns:a16="http://schemas.microsoft.com/office/drawing/2014/main" id="{6FB31C24-F05A-D5E5-AC70-D984E1AAF2E4}"/>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8" name="Freeform: Shape 177">
                <a:extLst>
                  <a:ext uri="{FF2B5EF4-FFF2-40B4-BE49-F238E27FC236}">
                    <a16:creationId xmlns:a16="http://schemas.microsoft.com/office/drawing/2014/main" id="{127472DF-C620-2730-0CC2-EBC98089D20F}"/>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9" name="Freeform: Shape 178">
                <a:extLst>
                  <a:ext uri="{FF2B5EF4-FFF2-40B4-BE49-F238E27FC236}">
                    <a16:creationId xmlns:a16="http://schemas.microsoft.com/office/drawing/2014/main" id="{AA9EE8F9-30B9-3633-9991-D00F4694201C}"/>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80" name="Freeform: Shape 179">
                <a:extLst>
                  <a:ext uri="{FF2B5EF4-FFF2-40B4-BE49-F238E27FC236}">
                    <a16:creationId xmlns:a16="http://schemas.microsoft.com/office/drawing/2014/main" id="{1B693DAF-CC19-11B8-8F5E-F274BB043E0D}"/>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81" name="Freeform: Shape 180">
                <a:extLst>
                  <a:ext uri="{FF2B5EF4-FFF2-40B4-BE49-F238E27FC236}">
                    <a16:creationId xmlns:a16="http://schemas.microsoft.com/office/drawing/2014/main" id="{08BDE02C-7259-CC75-B0EF-FD32AFB8281D}"/>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68" name="Group 167">
              <a:extLst>
                <a:ext uri="{FF2B5EF4-FFF2-40B4-BE49-F238E27FC236}">
                  <a16:creationId xmlns:a16="http://schemas.microsoft.com/office/drawing/2014/main" id="{528E99A6-23DD-41B8-E3B8-9BF69E5BE7ED}"/>
                </a:ext>
              </a:extLst>
            </p:cNvPr>
            <p:cNvGrpSpPr/>
            <p:nvPr/>
          </p:nvGrpSpPr>
          <p:grpSpPr>
            <a:xfrm>
              <a:off x="6910808" y="3542234"/>
              <a:ext cx="95015" cy="120928"/>
              <a:chOff x="3878639" y="6897922"/>
              <a:chExt cx="209550" cy="266701"/>
            </a:xfrm>
            <a:grpFill/>
          </p:grpSpPr>
          <p:sp>
            <p:nvSpPr>
              <p:cNvPr id="173" name="Freeform: Shape 172">
                <a:extLst>
                  <a:ext uri="{FF2B5EF4-FFF2-40B4-BE49-F238E27FC236}">
                    <a16:creationId xmlns:a16="http://schemas.microsoft.com/office/drawing/2014/main" id="{90DC3EC9-B459-3FB0-D682-8FCAD28C4B6B}"/>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4" name="Freeform: Shape 173">
                <a:extLst>
                  <a:ext uri="{FF2B5EF4-FFF2-40B4-BE49-F238E27FC236}">
                    <a16:creationId xmlns:a16="http://schemas.microsoft.com/office/drawing/2014/main" id="{AF1706B2-B4F1-ED83-7241-8C4FDE8A38E6}"/>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69" name="Group 168">
              <a:extLst>
                <a:ext uri="{FF2B5EF4-FFF2-40B4-BE49-F238E27FC236}">
                  <a16:creationId xmlns:a16="http://schemas.microsoft.com/office/drawing/2014/main" id="{323B0CE8-B931-8A68-48AB-274D54861129}"/>
                </a:ext>
              </a:extLst>
            </p:cNvPr>
            <p:cNvGrpSpPr/>
            <p:nvPr/>
          </p:nvGrpSpPr>
          <p:grpSpPr>
            <a:xfrm>
              <a:off x="6451821" y="3544277"/>
              <a:ext cx="117689" cy="116843"/>
              <a:chOff x="5200133" y="3503044"/>
              <a:chExt cx="117689" cy="116843"/>
            </a:xfrm>
            <a:grpFill/>
          </p:grpSpPr>
          <p:sp>
            <p:nvSpPr>
              <p:cNvPr id="170" name="Freeform: Shape 169">
                <a:extLst>
                  <a:ext uri="{FF2B5EF4-FFF2-40B4-BE49-F238E27FC236}">
                    <a16:creationId xmlns:a16="http://schemas.microsoft.com/office/drawing/2014/main" id="{4188416A-FD76-D4DF-E246-FFAAD3AE74EB}"/>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1" name="Freeform: Shape 170">
                <a:extLst>
                  <a:ext uri="{FF2B5EF4-FFF2-40B4-BE49-F238E27FC236}">
                    <a16:creationId xmlns:a16="http://schemas.microsoft.com/office/drawing/2014/main" id="{AEEA7F8E-60EC-42A1-F62E-638DB606133D}"/>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72" name="Freeform: Shape 171">
                <a:extLst>
                  <a:ext uri="{FF2B5EF4-FFF2-40B4-BE49-F238E27FC236}">
                    <a16:creationId xmlns:a16="http://schemas.microsoft.com/office/drawing/2014/main" id="{64088F9D-538A-1A2E-07C3-336CD79DD84C}"/>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grpSp>
        <p:nvGrpSpPr>
          <p:cNvPr id="186" name="Group 185">
            <a:extLst>
              <a:ext uri="{FF2B5EF4-FFF2-40B4-BE49-F238E27FC236}">
                <a16:creationId xmlns:a16="http://schemas.microsoft.com/office/drawing/2014/main" id="{96AB5E42-F264-64F9-28BE-BF2924EDB45D}"/>
              </a:ext>
              <a:ext uri="{C183D7F6-B498-43B3-948B-1728B52AA6E4}">
                <adec:decorative xmlns:adec="http://schemas.microsoft.com/office/drawing/2017/decorative" val="1"/>
              </a:ext>
            </a:extLst>
          </p:cNvPr>
          <p:cNvGrpSpPr/>
          <p:nvPr/>
        </p:nvGrpSpPr>
        <p:grpSpPr>
          <a:xfrm>
            <a:off x="10272023" y="2063408"/>
            <a:ext cx="604414" cy="581271"/>
            <a:chOff x="10405869" y="2998004"/>
            <a:chExt cx="728729" cy="665158"/>
          </a:xfrm>
          <a:solidFill>
            <a:srgbClr val="0078D3">
              <a:lumMod val="20000"/>
              <a:lumOff val="80000"/>
            </a:srgbClr>
          </a:solidFill>
        </p:grpSpPr>
        <p:grpSp>
          <p:nvGrpSpPr>
            <p:cNvPr id="187" name="Group 186" descr="Sales">
              <a:extLst>
                <a:ext uri="{FF2B5EF4-FFF2-40B4-BE49-F238E27FC236}">
                  <a16:creationId xmlns:a16="http://schemas.microsoft.com/office/drawing/2014/main" id="{409CA086-519A-1F94-F87B-337D02CF2A4E}"/>
                </a:ext>
              </a:extLst>
            </p:cNvPr>
            <p:cNvGrpSpPr/>
            <p:nvPr/>
          </p:nvGrpSpPr>
          <p:grpSpPr>
            <a:xfrm>
              <a:off x="10405869" y="2998004"/>
              <a:ext cx="728729" cy="571049"/>
              <a:chOff x="5155850" y="3155058"/>
              <a:chExt cx="728729" cy="571049"/>
            </a:xfrm>
            <a:grpFill/>
          </p:grpSpPr>
          <p:grpSp>
            <p:nvGrpSpPr>
              <p:cNvPr id="203" name="Group 202">
                <a:extLst>
                  <a:ext uri="{FF2B5EF4-FFF2-40B4-BE49-F238E27FC236}">
                    <a16:creationId xmlns:a16="http://schemas.microsoft.com/office/drawing/2014/main" id="{4DA30976-1AF2-2427-57AF-02F4AE6FB25C}"/>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grpFill/>
              <a:effectLst/>
            </p:grpSpPr>
            <p:sp>
              <p:nvSpPr>
                <p:cNvPr id="205" name="Freeform 24">
                  <a:extLst>
                    <a:ext uri="{FF2B5EF4-FFF2-40B4-BE49-F238E27FC236}">
                      <a16:creationId xmlns:a16="http://schemas.microsoft.com/office/drawing/2014/main" id="{487C7558-8E29-6914-D696-4B820305874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206" name="Freeform 25">
                  <a:extLst>
                    <a:ext uri="{FF2B5EF4-FFF2-40B4-BE49-F238E27FC236}">
                      <a16:creationId xmlns:a16="http://schemas.microsoft.com/office/drawing/2014/main" id="{8BDFE16F-261F-04EA-5FA4-211654CDB49E}"/>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horz" wrap="none" lIns="91440" tIns="91440" rIns="91440" bIns="9144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grpSp>
          <p:sp>
            <p:nvSpPr>
              <p:cNvPr id="204" name="Text Placeholder 112">
                <a:extLst>
                  <a:ext uri="{FF2B5EF4-FFF2-40B4-BE49-F238E27FC236}">
                    <a16:creationId xmlns:a16="http://schemas.microsoft.com/office/drawing/2014/main" id="{C3C546F3-65A6-78A4-4199-2983B061FC73}"/>
                  </a:ext>
                </a:extLst>
              </p:cNvPr>
              <p:cNvSpPr txBox="1">
                <a:spLocks/>
              </p:cNvSpPr>
              <p:nvPr/>
            </p:nvSpPr>
            <p:spPr>
              <a:xfrm>
                <a:off x="5253929" y="3486795"/>
                <a:ext cx="623673" cy="123267"/>
              </a:xfrm>
              <a:prstGeom prst="rect">
                <a:avLst/>
              </a:prstGeom>
              <a:grpFill/>
              <a:ln w="7838" cap="flat">
                <a:noFill/>
                <a:prstDash val="solid"/>
                <a:miter/>
              </a:ln>
            </p:spPr>
            <p:txBody>
              <a:bodyPr vert="horz" wrap="none" lIns="0" tIns="0" rIns="0" bIns="0" rtlCol="0" anchor="ctr">
                <a:spAutoFit/>
              </a:bodyP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rPr>
                  <a:t>Sustainability</a:t>
                </a:r>
              </a:p>
            </p:txBody>
          </p:sp>
        </p:grpSp>
        <p:grpSp>
          <p:nvGrpSpPr>
            <p:cNvPr id="188" name="Group 187">
              <a:extLst>
                <a:ext uri="{FF2B5EF4-FFF2-40B4-BE49-F238E27FC236}">
                  <a16:creationId xmlns:a16="http://schemas.microsoft.com/office/drawing/2014/main" id="{64CA448D-C039-2440-A380-C8254A1A36B8}"/>
                </a:ext>
              </a:extLst>
            </p:cNvPr>
            <p:cNvGrpSpPr/>
            <p:nvPr/>
          </p:nvGrpSpPr>
          <p:grpSpPr>
            <a:xfrm>
              <a:off x="10705474" y="3544277"/>
              <a:ext cx="112289" cy="116842"/>
              <a:chOff x="3735764" y="4887712"/>
              <a:chExt cx="247650" cy="257690"/>
            </a:xfrm>
            <a:grpFill/>
          </p:grpSpPr>
          <p:sp>
            <p:nvSpPr>
              <p:cNvPr id="196" name="Freeform: Shape 195">
                <a:extLst>
                  <a:ext uri="{FF2B5EF4-FFF2-40B4-BE49-F238E27FC236}">
                    <a16:creationId xmlns:a16="http://schemas.microsoft.com/office/drawing/2014/main" id="{4C3AAB7A-747A-F987-3353-CB3F4BDD8447}"/>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7" name="Freeform: Shape 196">
                <a:extLst>
                  <a:ext uri="{FF2B5EF4-FFF2-40B4-BE49-F238E27FC236}">
                    <a16:creationId xmlns:a16="http://schemas.microsoft.com/office/drawing/2014/main" id="{BCAEA73D-BFFF-3E3F-1487-E240ADA86D59}"/>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8" name="Freeform: Shape 197">
                <a:extLst>
                  <a:ext uri="{FF2B5EF4-FFF2-40B4-BE49-F238E27FC236}">
                    <a16:creationId xmlns:a16="http://schemas.microsoft.com/office/drawing/2014/main" id="{2E6170B8-1DB6-3243-A08A-9A00AA25E80F}"/>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9" name="Freeform: Shape 198">
                <a:extLst>
                  <a:ext uri="{FF2B5EF4-FFF2-40B4-BE49-F238E27FC236}">
                    <a16:creationId xmlns:a16="http://schemas.microsoft.com/office/drawing/2014/main" id="{9FD96003-62D7-2E3D-A0D8-7064A2B2EB0F}"/>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0" name="Freeform: Shape 199">
                <a:extLst>
                  <a:ext uri="{FF2B5EF4-FFF2-40B4-BE49-F238E27FC236}">
                    <a16:creationId xmlns:a16="http://schemas.microsoft.com/office/drawing/2014/main" id="{E8626368-0098-7700-75DA-3378146A1D7F}"/>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1" name="Freeform: Shape 200">
                <a:extLst>
                  <a:ext uri="{FF2B5EF4-FFF2-40B4-BE49-F238E27FC236}">
                    <a16:creationId xmlns:a16="http://schemas.microsoft.com/office/drawing/2014/main" id="{57DF1810-C333-5A50-A3AB-61D21BB44568}"/>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202" name="Freeform: Shape 201">
                <a:extLst>
                  <a:ext uri="{FF2B5EF4-FFF2-40B4-BE49-F238E27FC236}">
                    <a16:creationId xmlns:a16="http://schemas.microsoft.com/office/drawing/2014/main" id="{16B02CB6-C87C-AECF-60AF-87C98A3A7E03}"/>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89" name="Group 188">
              <a:extLst>
                <a:ext uri="{FF2B5EF4-FFF2-40B4-BE49-F238E27FC236}">
                  <a16:creationId xmlns:a16="http://schemas.microsoft.com/office/drawing/2014/main" id="{F977CAB2-AA11-165A-E89E-BC1035789E1A}"/>
                </a:ext>
              </a:extLst>
            </p:cNvPr>
            <p:cNvGrpSpPr/>
            <p:nvPr/>
          </p:nvGrpSpPr>
          <p:grpSpPr>
            <a:xfrm>
              <a:off x="10932267" y="3542234"/>
              <a:ext cx="95015" cy="120928"/>
              <a:chOff x="3878639" y="6897922"/>
              <a:chExt cx="209550" cy="266701"/>
            </a:xfrm>
            <a:grpFill/>
          </p:grpSpPr>
          <p:sp>
            <p:nvSpPr>
              <p:cNvPr id="194" name="Freeform: Shape 193">
                <a:extLst>
                  <a:ext uri="{FF2B5EF4-FFF2-40B4-BE49-F238E27FC236}">
                    <a16:creationId xmlns:a16="http://schemas.microsoft.com/office/drawing/2014/main" id="{EAF19EE5-B0BB-8F69-32D9-188F07903641}"/>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5" name="Freeform: Shape 194">
                <a:extLst>
                  <a:ext uri="{FF2B5EF4-FFF2-40B4-BE49-F238E27FC236}">
                    <a16:creationId xmlns:a16="http://schemas.microsoft.com/office/drawing/2014/main" id="{0DADC43A-F5B1-96A0-EA31-466E2245B4BD}"/>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nvGrpSpPr>
            <p:cNvPr id="190" name="Group 189">
              <a:extLst>
                <a:ext uri="{FF2B5EF4-FFF2-40B4-BE49-F238E27FC236}">
                  <a16:creationId xmlns:a16="http://schemas.microsoft.com/office/drawing/2014/main" id="{900B6FE4-6217-A7F8-EC1A-7AB5C2B7B84B}"/>
                </a:ext>
              </a:extLst>
            </p:cNvPr>
            <p:cNvGrpSpPr/>
            <p:nvPr/>
          </p:nvGrpSpPr>
          <p:grpSpPr>
            <a:xfrm>
              <a:off x="10473280" y="3544277"/>
              <a:ext cx="117689" cy="116843"/>
              <a:chOff x="5200133" y="3503044"/>
              <a:chExt cx="117689" cy="116843"/>
            </a:xfrm>
            <a:grpFill/>
          </p:grpSpPr>
          <p:sp>
            <p:nvSpPr>
              <p:cNvPr id="191" name="Freeform: Shape 190">
                <a:extLst>
                  <a:ext uri="{FF2B5EF4-FFF2-40B4-BE49-F238E27FC236}">
                    <a16:creationId xmlns:a16="http://schemas.microsoft.com/office/drawing/2014/main" id="{B1BCE171-021E-94DF-90E4-2716D81A2D41}"/>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grpFill/>
              <a:ln w="952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2" name="Freeform: Shape 191">
                <a:extLst>
                  <a:ext uri="{FF2B5EF4-FFF2-40B4-BE49-F238E27FC236}">
                    <a16:creationId xmlns:a16="http://schemas.microsoft.com/office/drawing/2014/main" id="{2166BC8C-9AE1-052E-4EC4-AFECB34F091E}"/>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3" name="Freeform: Shape 192">
                <a:extLst>
                  <a:ext uri="{FF2B5EF4-FFF2-40B4-BE49-F238E27FC236}">
                    <a16:creationId xmlns:a16="http://schemas.microsoft.com/office/drawing/2014/main" id="{74C88CF1-C52E-6C72-3445-52A8D1A9CDD9}"/>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grpFill/>
              <a:ln w="3175" cap="flat">
                <a:solidFill>
                  <a:srgbClr val="000000"/>
                </a:solidFill>
                <a:prstDash val="solid"/>
                <a:miter/>
              </a:ln>
            </p:spPr>
            <p:txBody>
              <a:bodyPr rtlCol="0" anchor="ctr"/>
              <a:lstStyle>
                <a:defPPr>
                  <a:defRPr lang="en-US"/>
                </a:defPPr>
                <a:lvl1pPr marL="0" algn="l" defTabSz="914367" rtl="0" eaLnBrk="1" latinLnBrk="0" hangingPunct="1">
                  <a:defRPr sz="1765" kern="1200">
                    <a:solidFill>
                      <a:srgbClr val="225B61"/>
                    </a:solidFill>
                    <a:latin typeface="Segoe Sans Text"/>
                  </a:defRPr>
                </a:lvl1pPr>
                <a:lvl2pPr marL="457183" algn="l" defTabSz="914367" rtl="0" eaLnBrk="1" latinLnBrk="0" hangingPunct="1">
                  <a:defRPr sz="1765" kern="1200">
                    <a:solidFill>
                      <a:srgbClr val="225B61"/>
                    </a:solidFill>
                    <a:latin typeface="Segoe Sans Text"/>
                  </a:defRPr>
                </a:lvl2pPr>
                <a:lvl3pPr marL="914367" algn="l" defTabSz="914367" rtl="0" eaLnBrk="1" latinLnBrk="0" hangingPunct="1">
                  <a:defRPr sz="1765" kern="1200">
                    <a:solidFill>
                      <a:srgbClr val="225B61"/>
                    </a:solidFill>
                    <a:latin typeface="Segoe Sans Text"/>
                  </a:defRPr>
                </a:lvl3pPr>
                <a:lvl4pPr marL="1371550" algn="l" defTabSz="914367" rtl="0" eaLnBrk="1" latinLnBrk="0" hangingPunct="1">
                  <a:defRPr sz="1765" kern="1200">
                    <a:solidFill>
                      <a:srgbClr val="225B61"/>
                    </a:solidFill>
                    <a:latin typeface="Segoe Sans Text"/>
                  </a:defRPr>
                </a:lvl4pPr>
                <a:lvl5pPr marL="1828734" algn="l" defTabSz="914367" rtl="0" eaLnBrk="1" latinLnBrk="0" hangingPunct="1">
                  <a:defRPr sz="1765" kern="1200">
                    <a:solidFill>
                      <a:srgbClr val="225B61"/>
                    </a:solidFill>
                    <a:latin typeface="Segoe Sans Text"/>
                  </a:defRPr>
                </a:lvl5pPr>
                <a:lvl6pPr marL="2285918" algn="l" defTabSz="914367" rtl="0" eaLnBrk="1" latinLnBrk="0" hangingPunct="1">
                  <a:defRPr sz="1765" kern="1200">
                    <a:solidFill>
                      <a:srgbClr val="225B61"/>
                    </a:solidFill>
                    <a:latin typeface="Segoe Sans Text"/>
                  </a:defRPr>
                </a:lvl6pPr>
                <a:lvl7pPr marL="2743101" algn="l" defTabSz="914367" rtl="0" eaLnBrk="1" latinLnBrk="0" hangingPunct="1">
                  <a:defRPr sz="1765" kern="1200">
                    <a:solidFill>
                      <a:srgbClr val="225B61"/>
                    </a:solidFill>
                    <a:latin typeface="Segoe Sans Text"/>
                  </a:defRPr>
                </a:lvl7pPr>
                <a:lvl8pPr marL="3200284" algn="l" defTabSz="914367" rtl="0" eaLnBrk="1" latinLnBrk="0" hangingPunct="1">
                  <a:defRPr sz="1765" kern="1200">
                    <a:solidFill>
                      <a:srgbClr val="225B61"/>
                    </a:solidFill>
                    <a:latin typeface="Segoe Sans Text"/>
                  </a:defRPr>
                </a:lvl8pPr>
                <a:lvl9pPr marL="3657469" algn="l" defTabSz="914367" rtl="0" eaLnBrk="1" latinLnBrk="0" hangingPunct="1">
                  <a:defRPr sz="1765" kern="1200">
                    <a:solidFill>
                      <a:srgbClr val="225B61"/>
                    </a:solidFill>
                    <a:latin typeface="Segoe Sans Tex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25B61"/>
                  </a:solidFill>
                  <a:effectLst/>
                  <a:uLnTx/>
                  <a:uFillTx/>
                  <a:latin typeface="Segoe Sans Text Semilight"/>
                  <a:ea typeface="+mn-ea"/>
                  <a:cs typeface="+mn-cs"/>
                </a:endParaRPr>
              </a:p>
            </p:txBody>
          </p:sp>
        </p:grpSp>
      </p:grpSp>
      <p:pic>
        <p:nvPicPr>
          <p:cNvPr id="207" name="Picture 87">
            <a:extLst>
              <a:ext uri="{FF2B5EF4-FFF2-40B4-BE49-F238E27FC236}">
                <a16:creationId xmlns:a16="http://schemas.microsoft.com/office/drawing/2014/main" id="{208387EA-E350-D780-5BF5-8F65E6AF7CC5}"/>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299827" y="5353223"/>
            <a:ext cx="342291" cy="372038"/>
          </a:xfrm>
          <a:prstGeom prst="rect">
            <a:avLst/>
          </a:prstGeom>
        </p:spPr>
      </p:pic>
      <p:pic>
        <p:nvPicPr>
          <p:cNvPr id="209" name="Picture 91">
            <a:extLst>
              <a:ext uri="{FF2B5EF4-FFF2-40B4-BE49-F238E27FC236}">
                <a16:creationId xmlns:a16="http://schemas.microsoft.com/office/drawing/2014/main" id="{CC7EBFC2-CD7A-0205-DCBE-B5E686090487}"/>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7136" r="26607"/>
          <a:stretch/>
        </p:blipFill>
        <p:spPr>
          <a:xfrm>
            <a:off x="5754211" y="5393419"/>
            <a:ext cx="295424" cy="308465"/>
          </a:xfrm>
          <a:prstGeom prst="rect">
            <a:avLst/>
          </a:prstGeom>
        </p:spPr>
      </p:pic>
      <p:sp>
        <p:nvSpPr>
          <p:cNvPr id="210" name="TextBox 95">
            <a:extLst>
              <a:ext uri="{FF2B5EF4-FFF2-40B4-BE49-F238E27FC236}">
                <a16:creationId xmlns:a16="http://schemas.microsoft.com/office/drawing/2014/main" id="{7F3666F5-C4FD-130C-0330-389E867EAACB}"/>
              </a:ext>
              <a:ext uri="{C183D7F6-B498-43B3-948B-1728B52AA6E4}">
                <adec:decorative xmlns:adec="http://schemas.microsoft.com/office/drawing/2017/decorative" val="1"/>
              </a:ext>
            </a:extLst>
          </p:cNvPr>
          <p:cNvSpPr txBox="1"/>
          <p:nvPr/>
        </p:nvSpPr>
        <p:spPr>
          <a:xfrm>
            <a:off x="6752563" y="5889736"/>
            <a:ext cx="644063"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atabricks</a:t>
            </a:r>
          </a:p>
        </p:txBody>
      </p:sp>
      <p:sp>
        <p:nvSpPr>
          <p:cNvPr id="211" name="TextBox 96">
            <a:extLst>
              <a:ext uri="{FF2B5EF4-FFF2-40B4-BE49-F238E27FC236}">
                <a16:creationId xmlns:a16="http://schemas.microsoft.com/office/drawing/2014/main" id="{EB399D32-CD47-C753-C687-6FFFA804F8DE}"/>
              </a:ext>
              <a:ext uri="{C183D7F6-B498-43B3-948B-1728B52AA6E4}">
                <adec:decorative xmlns:adec="http://schemas.microsoft.com/office/drawing/2017/decorative" val="1"/>
              </a:ext>
            </a:extLst>
          </p:cNvPr>
          <p:cNvSpPr txBox="1"/>
          <p:nvPr/>
        </p:nvSpPr>
        <p:spPr>
          <a:xfrm>
            <a:off x="6238607" y="5753976"/>
            <a:ext cx="46473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Google Cloud Storage</a:t>
            </a:r>
          </a:p>
        </p:txBody>
      </p:sp>
      <p:sp>
        <p:nvSpPr>
          <p:cNvPr id="214" name="TextBox 98">
            <a:extLst>
              <a:ext uri="{FF2B5EF4-FFF2-40B4-BE49-F238E27FC236}">
                <a16:creationId xmlns:a16="http://schemas.microsoft.com/office/drawing/2014/main" id="{214AE280-1E3A-1B7E-C0C3-2FE32930407F}"/>
              </a:ext>
            </a:extLst>
          </p:cNvPr>
          <p:cNvSpPr txBox="1"/>
          <p:nvPr/>
        </p:nvSpPr>
        <p:spPr>
          <a:xfrm>
            <a:off x="7292044" y="5888440"/>
            <a:ext cx="65109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Fabric</a:t>
            </a:r>
          </a:p>
        </p:txBody>
      </p:sp>
      <p:sp>
        <p:nvSpPr>
          <p:cNvPr id="215" name="Rounded Rectangle 155">
            <a:extLst>
              <a:ext uri="{FF2B5EF4-FFF2-40B4-BE49-F238E27FC236}">
                <a16:creationId xmlns:a16="http://schemas.microsoft.com/office/drawing/2014/main" id="{2064D697-1F5D-FEDE-C704-5F3F38D3EE52}"/>
              </a:ext>
              <a:ext uri="{C183D7F6-B498-43B3-948B-1728B52AA6E4}">
                <adec:decorative xmlns:adec="http://schemas.microsoft.com/office/drawing/2017/decorative" val="1"/>
              </a:ext>
            </a:extLst>
          </p:cNvPr>
          <p:cNvSpPr/>
          <p:nvPr/>
        </p:nvSpPr>
        <p:spPr bwMode="auto">
          <a:xfrm>
            <a:off x="5565006" y="5291180"/>
            <a:ext cx="2395771"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16" name="TextBox 116">
            <a:extLst>
              <a:ext uri="{FF2B5EF4-FFF2-40B4-BE49-F238E27FC236}">
                <a16:creationId xmlns:a16="http://schemas.microsoft.com/office/drawing/2014/main" id="{52AE6016-F44E-81B4-CF10-CF61837C619A}"/>
              </a:ext>
              <a:ext uri="{C183D7F6-B498-43B3-948B-1728B52AA6E4}">
                <adec:decorative xmlns:adec="http://schemas.microsoft.com/office/drawing/2017/decorative" val="1"/>
              </a:ext>
            </a:extLst>
          </p:cNvPr>
          <p:cNvSpPr txBox="1"/>
          <p:nvPr/>
        </p:nvSpPr>
        <p:spPr>
          <a:xfrm>
            <a:off x="5615435" y="5768044"/>
            <a:ext cx="57297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ata Lake Storage </a:t>
            </a:r>
          </a:p>
        </p:txBody>
      </p:sp>
      <p:pic>
        <p:nvPicPr>
          <p:cNvPr id="217" name="Picture 2">
            <a:extLst>
              <a:ext uri="{FF2B5EF4-FFF2-40B4-BE49-F238E27FC236}">
                <a16:creationId xmlns:a16="http://schemas.microsoft.com/office/drawing/2014/main" id="{0E4DA440-18AF-CCAC-8D4B-F9A5B862FE43}"/>
              </a:ext>
              <a:ext uri="{C183D7F6-B498-43B3-948B-1728B52AA6E4}">
                <adec:decorative xmlns:adec="http://schemas.microsoft.com/office/drawing/2017/decorative" val="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94596" y="5413284"/>
            <a:ext cx="311394" cy="308465"/>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4">
            <a:extLst>
              <a:ext uri="{FF2B5EF4-FFF2-40B4-BE49-F238E27FC236}">
                <a16:creationId xmlns:a16="http://schemas.microsoft.com/office/drawing/2014/main" id="{9425CB71-74CC-8335-E35A-FBDC3CD48998}"/>
              </a:ext>
              <a:ext uri="{C183D7F6-B498-43B3-948B-1728B52AA6E4}">
                <adec:decorative xmlns:adec="http://schemas.microsoft.com/office/drawing/2017/decorative" val="1"/>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8019" r="23696"/>
          <a:stretch/>
        </p:blipFill>
        <p:spPr bwMode="auto">
          <a:xfrm>
            <a:off x="8866979" y="5430563"/>
            <a:ext cx="321237" cy="273906"/>
          </a:xfrm>
          <a:prstGeom prst="rect">
            <a:avLst/>
          </a:prstGeom>
          <a:noFill/>
          <a:extLst>
            <a:ext uri="{909E8E84-426E-40DD-AFC4-6F175D3DCCD1}">
              <a14:hiddenFill xmlns:a14="http://schemas.microsoft.com/office/drawing/2010/main">
                <a:solidFill>
                  <a:srgbClr val="FFFFFF"/>
                </a:solidFill>
              </a14:hiddenFill>
            </a:ext>
          </a:extLst>
        </p:spPr>
      </p:pic>
      <p:sp>
        <p:nvSpPr>
          <p:cNvPr id="219" name="TextBox 97">
            <a:extLst>
              <a:ext uri="{FF2B5EF4-FFF2-40B4-BE49-F238E27FC236}">
                <a16:creationId xmlns:a16="http://schemas.microsoft.com/office/drawing/2014/main" id="{43D4974B-5EF7-BC14-7724-CDF7DD9EE7BC}"/>
              </a:ext>
              <a:ext uri="{C183D7F6-B498-43B3-948B-1728B52AA6E4}">
                <adec:decorative xmlns:adec="http://schemas.microsoft.com/office/drawing/2017/decorative" val="1"/>
              </a:ext>
            </a:extLst>
          </p:cNvPr>
          <p:cNvSpPr txBox="1"/>
          <p:nvPr/>
        </p:nvSpPr>
        <p:spPr>
          <a:xfrm>
            <a:off x="8753277" y="5825066"/>
            <a:ext cx="548640"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Cosmos DB</a:t>
            </a:r>
          </a:p>
        </p:txBody>
      </p:sp>
      <p:sp>
        <p:nvSpPr>
          <p:cNvPr id="220" name="Rounded Rectangle 155">
            <a:extLst>
              <a:ext uri="{FF2B5EF4-FFF2-40B4-BE49-F238E27FC236}">
                <a16:creationId xmlns:a16="http://schemas.microsoft.com/office/drawing/2014/main" id="{5B94C091-ADE3-D8D9-944A-373ADC488BBC}"/>
              </a:ext>
              <a:ext uri="{C183D7F6-B498-43B3-948B-1728B52AA6E4}">
                <adec:decorative xmlns:adec="http://schemas.microsoft.com/office/drawing/2017/decorative" val="1"/>
              </a:ext>
            </a:extLst>
          </p:cNvPr>
          <p:cNvSpPr/>
          <p:nvPr/>
        </p:nvSpPr>
        <p:spPr bwMode="auto">
          <a:xfrm>
            <a:off x="8071042" y="5291180"/>
            <a:ext cx="2263163"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21" name="TextBox 115">
            <a:extLst>
              <a:ext uri="{FF2B5EF4-FFF2-40B4-BE49-F238E27FC236}">
                <a16:creationId xmlns:a16="http://schemas.microsoft.com/office/drawing/2014/main" id="{32ABB7FD-60F6-C4A1-F3FC-A8D95D7E19D7}"/>
              </a:ext>
              <a:ext uri="{C183D7F6-B498-43B3-948B-1728B52AA6E4}">
                <adec:decorative xmlns:adec="http://schemas.microsoft.com/office/drawing/2017/decorative" val="1"/>
              </a:ext>
            </a:extLst>
          </p:cNvPr>
          <p:cNvSpPr txBox="1"/>
          <p:nvPr/>
        </p:nvSpPr>
        <p:spPr>
          <a:xfrm>
            <a:off x="9275973" y="5825066"/>
            <a:ext cx="54864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SQLDB</a:t>
            </a:r>
          </a:p>
        </p:txBody>
      </p:sp>
      <p:sp>
        <p:nvSpPr>
          <p:cNvPr id="222" name="TextBox 121">
            <a:extLst>
              <a:ext uri="{FF2B5EF4-FFF2-40B4-BE49-F238E27FC236}">
                <a16:creationId xmlns:a16="http://schemas.microsoft.com/office/drawing/2014/main" id="{FA1BE752-46BF-77CF-3AD8-1AC9423FDC88}"/>
              </a:ext>
              <a:ext uri="{C183D7F6-B498-43B3-948B-1728B52AA6E4}">
                <adec:decorative xmlns:adec="http://schemas.microsoft.com/office/drawing/2017/decorative" val="1"/>
              </a:ext>
            </a:extLst>
          </p:cNvPr>
          <p:cNvSpPr txBox="1"/>
          <p:nvPr/>
        </p:nvSpPr>
        <p:spPr>
          <a:xfrm>
            <a:off x="8165478" y="5886621"/>
            <a:ext cx="548640"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Snowflake</a:t>
            </a:r>
          </a:p>
        </p:txBody>
      </p:sp>
      <p:pic>
        <p:nvPicPr>
          <p:cNvPr id="223" name="Imagen 2">
            <a:extLst>
              <a:ext uri="{FF2B5EF4-FFF2-40B4-BE49-F238E27FC236}">
                <a16:creationId xmlns:a16="http://schemas.microsoft.com/office/drawing/2014/main" id="{A3F61988-BEF0-CF4E-E920-32F674D62E8B}"/>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71032" y="5399397"/>
            <a:ext cx="337532" cy="336238"/>
          </a:xfrm>
          <a:prstGeom prst="rect">
            <a:avLst/>
          </a:prstGeom>
        </p:spPr>
      </p:pic>
      <p:pic>
        <p:nvPicPr>
          <p:cNvPr id="224" name="Picture 223">
            <a:extLst>
              <a:ext uri="{FF2B5EF4-FFF2-40B4-BE49-F238E27FC236}">
                <a16:creationId xmlns:a16="http://schemas.microsoft.com/office/drawing/2014/main" id="{D39EA4B8-8F51-69A4-776E-AB442DCEEE8D}"/>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924193" y="5354840"/>
            <a:ext cx="197838" cy="425352"/>
          </a:xfrm>
          <a:prstGeom prst="rect">
            <a:avLst/>
          </a:prstGeom>
        </p:spPr>
      </p:pic>
      <p:sp>
        <p:nvSpPr>
          <p:cNvPr id="225" name="TextBox 115">
            <a:extLst>
              <a:ext uri="{FF2B5EF4-FFF2-40B4-BE49-F238E27FC236}">
                <a16:creationId xmlns:a16="http://schemas.microsoft.com/office/drawing/2014/main" id="{47944545-864A-8D22-B7AA-45F74AFC39C0}"/>
              </a:ext>
              <a:ext uri="{C183D7F6-B498-43B3-948B-1728B52AA6E4}">
                <adec:decorative xmlns:adec="http://schemas.microsoft.com/office/drawing/2017/decorative" val="1"/>
              </a:ext>
            </a:extLst>
          </p:cNvPr>
          <p:cNvSpPr txBox="1"/>
          <p:nvPr/>
        </p:nvSpPr>
        <p:spPr>
          <a:xfrm>
            <a:off x="9748792" y="5825066"/>
            <a:ext cx="54864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Mong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Sans Display"/>
                <a:ea typeface="+mn-ea"/>
                <a:cs typeface="+mn-cs"/>
              </a:rPr>
              <a:t>DB</a:t>
            </a:r>
          </a:p>
        </p:txBody>
      </p:sp>
      <p:pic>
        <p:nvPicPr>
          <p:cNvPr id="226" name="Picture 4">
            <a:extLst>
              <a:ext uri="{FF2B5EF4-FFF2-40B4-BE49-F238E27FC236}">
                <a16:creationId xmlns:a16="http://schemas.microsoft.com/office/drawing/2014/main" id="{4F83F4F5-5180-B0FD-741D-DE5BC8BF2466}"/>
              </a:ext>
              <a:ext uri="{C183D7F6-B498-43B3-948B-1728B52AA6E4}">
                <adec:decorative xmlns:adec="http://schemas.microsoft.com/office/drawing/2017/decorative" val="1"/>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9089" r="80763" b="31796"/>
          <a:stretch/>
        </p:blipFill>
        <p:spPr bwMode="auto">
          <a:xfrm>
            <a:off x="10760536" y="5315688"/>
            <a:ext cx="599710" cy="836949"/>
          </a:xfrm>
          <a:prstGeom prst="roundRect">
            <a:avLst>
              <a:gd name="adj" fmla="val 8594"/>
            </a:avLst>
          </a:prstGeom>
          <a:solidFill>
            <a:srgbClr val="080808">
              <a:lumMod val="50000"/>
              <a:lumOff val="50000"/>
            </a:srgbClr>
          </a:solidFill>
          <a:ln>
            <a:noFill/>
          </a:ln>
          <a:effectLst/>
        </p:spPr>
      </p:pic>
      <p:sp>
        <p:nvSpPr>
          <p:cNvPr id="227" name="Rounded Rectangle 155">
            <a:extLst>
              <a:ext uri="{FF2B5EF4-FFF2-40B4-BE49-F238E27FC236}">
                <a16:creationId xmlns:a16="http://schemas.microsoft.com/office/drawing/2014/main" id="{1F43FEE0-2582-44BC-B828-7F0E382F249B}"/>
              </a:ext>
              <a:ext uri="{C183D7F6-B498-43B3-948B-1728B52AA6E4}">
                <adec:decorative xmlns:adec="http://schemas.microsoft.com/office/drawing/2017/decorative" val="1"/>
              </a:ext>
            </a:extLst>
          </p:cNvPr>
          <p:cNvSpPr/>
          <p:nvPr/>
        </p:nvSpPr>
        <p:spPr bwMode="auto">
          <a:xfrm>
            <a:off x="10444471" y="5291180"/>
            <a:ext cx="1231840" cy="885966"/>
          </a:xfrm>
          <a:prstGeom prst="roundRect">
            <a:avLst>
              <a:gd name="adj" fmla="val 7450"/>
            </a:avLst>
          </a:prstGeom>
          <a:noFill/>
          <a:ln w="12700" cap="rnd" cmpd="sng" algn="ctr">
            <a:solidFill>
              <a:schemeClr val="accent2"/>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latin typeface="Segoe Sans Display"/>
              <a:ea typeface="+mn-ea"/>
              <a:cs typeface="Segoe UI" pitchFamily="34" charset="0"/>
            </a:endParaRPr>
          </a:p>
        </p:txBody>
      </p:sp>
      <p:sp>
        <p:nvSpPr>
          <p:cNvPr id="228" name="Text Placeholder 2">
            <a:extLst>
              <a:ext uri="{FF2B5EF4-FFF2-40B4-BE49-F238E27FC236}">
                <a16:creationId xmlns:a16="http://schemas.microsoft.com/office/drawing/2014/main" id="{EB388E1D-10FA-093B-F0CE-01DF79978FDF}"/>
              </a:ext>
              <a:ext uri="{C183D7F6-B498-43B3-948B-1728B52AA6E4}">
                <adec:decorative xmlns:adec="http://schemas.microsoft.com/office/drawing/2017/decorative" val="1"/>
              </a:ext>
            </a:extLst>
          </p:cNvPr>
          <p:cNvSpPr txBox="1">
            <a:spLocks/>
          </p:cNvSpPr>
          <p:nvPr/>
        </p:nvSpPr>
        <p:spPr>
          <a:xfrm>
            <a:off x="8521172" y="620392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Databases</a:t>
            </a:r>
          </a:p>
        </p:txBody>
      </p:sp>
      <p:sp>
        <p:nvSpPr>
          <p:cNvPr id="229" name="Text Placeholder 2">
            <a:extLst>
              <a:ext uri="{FF2B5EF4-FFF2-40B4-BE49-F238E27FC236}">
                <a16:creationId xmlns:a16="http://schemas.microsoft.com/office/drawing/2014/main" id="{A1BC52BE-F3CC-DB8B-E530-A4B13AC43DDB}"/>
              </a:ext>
              <a:ext uri="{C183D7F6-B498-43B3-948B-1728B52AA6E4}">
                <adec:decorative xmlns:adec="http://schemas.microsoft.com/office/drawing/2017/decorative" val="1"/>
              </a:ext>
            </a:extLst>
          </p:cNvPr>
          <p:cNvSpPr txBox="1">
            <a:spLocks/>
          </p:cNvSpPr>
          <p:nvPr/>
        </p:nvSpPr>
        <p:spPr>
          <a:xfrm>
            <a:off x="5947843" y="6222975"/>
            <a:ext cx="1630097"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Cloud stores</a:t>
            </a:r>
          </a:p>
        </p:txBody>
      </p:sp>
      <p:sp>
        <p:nvSpPr>
          <p:cNvPr id="230" name="Text Placeholder 2">
            <a:extLst>
              <a:ext uri="{FF2B5EF4-FFF2-40B4-BE49-F238E27FC236}">
                <a16:creationId xmlns:a16="http://schemas.microsoft.com/office/drawing/2014/main" id="{703DDB6A-B67E-AC47-645D-149DF335CB96}"/>
              </a:ext>
              <a:ext uri="{C183D7F6-B498-43B3-948B-1728B52AA6E4}">
                <adec:decorative xmlns:adec="http://schemas.microsoft.com/office/drawing/2017/decorative" val="1"/>
              </a:ext>
            </a:extLst>
          </p:cNvPr>
          <p:cNvSpPr txBox="1">
            <a:spLocks/>
          </p:cNvSpPr>
          <p:nvPr/>
        </p:nvSpPr>
        <p:spPr>
          <a:xfrm>
            <a:off x="10378940" y="620392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All other sources</a:t>
            </a:r>
          </a:p>
        </p:txBody>
      </p:sp>
      <p:sp>
        <p:nvSpPr>
          <p:cNvPr id="231" name="Text Placeholder 2">
            <a:extLst>
              <a:ext uri="{FF2B5EF4-FFF2-40B4-BE49-F238E27FC236}">
                <a16:creationId xmlns:a16="http://schemas.microsoft.com/office/drawing/2014/main" id="{E32723F0-78D7-EF88-D307-B2FDB6D34888}"/>
              </a:ext>
              <a:ext uri="{C183D7F6-B498-43B3-948B-1728B52AA6E4}">
                <adec:decorative xmlns:adec="http://schemas.microsoft.com/office/drawing/2017/decorative" val="1"/>
              </a:ext>
            </a:extLst>
          </p:cNvPr>
          <p:cNvSpPr txBox="1">
            <a:spLocks/>
          </p:cNvSpPr>
          <p:nvPr/>
        </p:nvSpPr>
        <p:spPr>
          <a:xfrm>
            <a:off x="7142186" y="1578368"/>
            <a:ext cx="2950011" cy="215444"/>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Domains</a:t>
            </a:r>
          </a:p>
        </p:txBody>
      </p:sp>
      <p:grpSp>
        <p:nvGrpSpPr>
          <p:cNvPr id="2" name="Group 1">
            <a:extLst>
              <a:ext uri="{FF2B5EF4-FFF2-40B4-BE49-F238E27FC236}">
                <a16:creationId xmlns:a16="http://schemas.microsoft.com/office/drawing/2014/main" id="{25921506-3919-4EB0-249E-1F9CD14F02B4}"/>
              </a:ext>
            </a:extLst>
          </p:cNvPr>
          <p:cNvGrpSpPr/>
          <p:nvPr/>
        </p:nvGrpSpPr>
        <p:grpSpPr>
          <a:xfrm>
            <a:off x="5894343" y="3629404"/>
            <a:ext cx="5445696" cy="1031287"/>
            <a:chOff x="5929068" y="3316768"/>
            <a:chExt cx="5445696" cy="1031287"/>
          </a:xfrm>
        </p:grpSpPr>
        <p:sp>
          <p:nvSpPr>
            <p:cNvPr id="233" name="Rectangle: Rounded Corners 368">
              <a:extLst>
                <a:ext uri="{FF2B5EF4-FFF2-40B4-BE49-F238E27FC236}">
                  <a16:creationId xmlns:a16="http://schemas.microsoft.com/office/drawing/2014/main" id="{C2CE2E1E-1802-6D15-4A9E-35C3819E8E7D}"/>
                </a:ext>
                <a:ext uri="{C183D7F6-B498-43B3-948B-1728B52AA6E4}">
                  <adec:decorative xmlns:adec="http://schemas.microsoft.com/office/drawing/2017/decorative" val="1"/>
                </a:ext>
              </a:extLst>
            </p:cNvPr>
            <p:cNvSpPr/>
            <p:nvPr/>
          </p:nvSpPr>
          <p:spPr>
            <a:xfrm>
              <a:off x="5932266" y="3886367"/>
              <a:ext cx="5439301" cy="461688"/>
            </a:xfrm>
            <a:prstGeom prst="roundRect">
              <a:avLst>
                <a:gd name="adj" fmla="val 2723"/>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Health Management</a:t>
              </a:r>
            </a:p>
          </p:txBody>
        </p:sp>
        <p:sp>
          <p:nvSpPr>
            <p:cNvPr id="234" name="Rectangle: Rounded Corners 368">
              <a:extLst>
                <a:ext uri="{FF2B5EF4-FFF2-40B4-BE49-F238E27FC236}">
                  <a16:creationId xmlns:a16="http://schemas.microsoft.com/office/drawing/2014/main" id="{3854475C-A8D0-A66F-1B0D-3A5DAFECF771}"/>
                </a:ext>
                <a:ext uri="{C183D7F6-B498-43B3-948B-1728B52AA6E4}">
                  <adec:decorative xmlns:adec="http://schemas.microsoft.com/office/drawing/2017/decorative" val="1"/>
                </a:ext>
              </a:extLst>
            </p:cNvPr>
            <p:cNvSpPr/>
            <p:nvPr/>
          </p:nvSpPr>
          <p:spPr>
            <a:xfrm>
              <a:off x="5929068" y="3316768"/>
              <a:ext cx="5445696" cy="461688"/>
            </a:xfrm>
            <a:prstGeom prst="roundRect">
              <a:avLst>
                <a:gd name="adj" fmla="val 2723"/>
              </a:avLst>
            </a:prstGeom>
            <a:solidFill>
              <a:srgbClr val="FFFFFF"/>
            </a:solidFill>
            <a:ln w="15875">
              <a:solidFill>
                <a:schemeClr val="accent2"/>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Unified Catalog</a:t>
              </a:r>
            </a:p>
          </p:txBody>
        </p:sp>
      </p:grpSp>
      <p:cxnSp>
        <p:nvCxnSpPr>
          <p:cNvPr id="244" name="Straight Connector 243">
            <a:extLst>
              <a:ext uri="{FF2B5EF4-FFF2-40B4-BE49-F238E27FC236}">
                <a16:creationId xmlns:a16="http://schemas.microsoft.com/office/drawing/2014/main" id="{F479E871-A28C-9958-CFE6-449309A5631F}"/>
              </a:ext>
            </a:extLst>
          </p:cNvPr>
          <p:cNvCxnSpPr>
            <a:cxnSpLocks/>
            <a:endCxn id="51" idx="2"/>
          </p:cNvCxnSpPr>
          <p:nvPr/>
        </p:nvCxnSpPr>
        <p:spPr>
          <a:xfrm flipV="1">
            <a:off x="8617192" y="4989720"/>
            <a:ext cx="0" cy="301460"/>
          </a:xfrm>
          <a:prstGeom prst="line">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F6C1432-C32C-2BF4-2208-3FEDA8A553C7}"/>
              </a:ext>
            </a:extLst>
          </p:cNvPr>
          <p:cNvCxnSpPr>
            <a:cxnSpLocks/>
            <a:stCxn id="51" idx="0"/>
          </p:cNvCxnSpPr>
          <p:nvPr/>
        </p:nvCxnSpPr>
        <p:spPr>
          <a:xfrm flipH="1" flipV="1">
            <a:off x="8617191" y="2991076"/>
            <a:ext cx="1" cy="366388"/>
          </a:xfrm>
          <a:prstGeom prst="line">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2" name="Arrow: Right 251">
            <a:extLst>
              <a:ext uri="{FF2B5EF4-FFF2-40B4-BE49-F238E27FC236}">
                <a16:creationId xmlns:a16="http://schemas.microsoft.com/office/drawing/2014/main" id="{90764ED1-2A9C-D3E3-7AC2-D43CD93B5F47}"/>
              </a:ext>
              <a:ext uri="{C183D7F6-B498-43B3-948B-1728B52AA6E4}">
                <adec:decorative xmlns:adec="http://schemas.microsoft.com/office/drawing/2017/decorative" val="1"/>
              </a:ext>
            </a:extLst>
          </p:cNvPr>
          <p:cNvSpPr/>
          <p:nvPr/>
        </p:nvSpPr>
        <p:spPr bwMode="auto">
          <a:xfrm>
            <a:off x="4880450" y="3409854"/>
            <a:ext cx="345792" cy="201861"/>
          </a:xfrm>
          <a:prstGeom prst="rightArrow">
            <a:avLst/>
          </a:prstGeom>
          <a:solidFill>
            <a:schemeClr val="accent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Arrow: Left 253">
            <a:extLst>
              <a:ext uri="{FF2B5EF4-FFF2-40B4-BE49-F238E27FC236}">
                <a16:creationId xmlns:a16="http://schemas.microsoft.com/office/drawing/2014/main" id="{83401F43-75B8-2E39-80CF-6D35C029FCD8}"/>
              </a:ext>
              <a:ext uri="{C183D7F6-B498-43B3-948B-1728B52AA6E4}">
                <adec:decorative xmlns:adec="http://schemas.microsoft.com/office/drawing/2017/decorative" val="1"/>
              </a:ext>
            </a:extLst>
          </p:cNvPr>
          <p:cNvSpPr/>
          <p:nvPr/>
        </p:nvSpPr>
        <p:spPr bwMode="auto">
          <a:xfrm>
            <a:off x="4870983" y="1592394"/>
            <a:ext cx="345792" cy="201861"/>
          </a:xfrm>
          <a:prstGeom prst="leftArrow">
            <a:avLst/>
          </a:prstGeom>
          <a:solidFill>
            <a:schemeClr val="bg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Shape 86">
            <a:extLst>
              <a:ext uri="{FF2B5EF4-FFF2-40B4-BE49-F238E27FC236}">
                <a16:creationId xmlns:a16="http://schemas.microsoft.com/office/drawing/2014/main" id="{911AB00C-D39D-656A-B8BA-C801966DD5BC}"/>
              </a:ext>
              <a:ext uri="{C183D7F6-B498-43B3-948B-1728B52AA6E4}">
                <adec:decorative xmlns:adec="http://schemas.microsoft.com/office/drawing/2017/decorative" val="1"/>
              </a:ext>
            </a:extLst>
          </p:cNvPr>
          <p:cNvSpPr/>
          <p:nvPr/>
        </p:nvSpPr>
        <p:spPr>
          <a:xfrm>
            <a:off x="1072568" y="4770933"/>
            <a:ext cx="3493679" cy="1087366"/>
          </a:xfrm>
          <a:custGeom>
            <a:avLst/>
            <a:gdLst/>
            <a:ahLst/>
            <a:cxnLst/>
            <a:rect l="l" t="t" r="r" b="b"/>
            <a:pathLst>
              <a:path w="3493679" h="1087366">
                <a:moveTo>
                  <a:pt x="29609" y="0"/>
                </a:moveTo>
                <a:lnTo>
                  <a:pt x="3464070" y="0"/>
                </a:lnTo>
                <a:cubicBezTo>
                  <a:pt x="3480423" y="0"/>
                  <a:pt x="3493679" y="13256"/>
                  <a:pt x="3493679" y="29609"/>
                </a:cubicBezTo>
                <a:lnTo>
                  <a:pt x="3493679" y="1057757"/>
                </a:lnTo>
                <a:cubicBezTo>
                  <a:pt x="3493679" y="1074110"/>
                  <a:pt x="3480423" y="1087366"/>
                  <a:pt x="3464070" y="1087366"/>
                </a:cubicBezTo>
                <a:lnTo>
                  <a:pt x="29609" y="1087366"/>
                </a:lnTo>
                <a:cubicBezTo>
                  <a:pt x="13256" y="1087366"/>
                  <a:pt x="0" y="1074110"/>
                  <a:pt x="0" y="1057757"/>
                </a:cubicBezTo>
                <a:lnTo>
                  <a:pt x="0" y="925626"/>
                </a:lnTo>
                <a:lnTo>
                  <a:pt x="70764" y="918492"/>
                </a:lnTo>
                <a:cubicBezTo>
                  <a:pt x="246219" y="882589"/>
                  <a:pt x="378203" y="727347"/>
                  <a:pt x="378203" y="541277"/>
                </a:cubicBezTo>
                <a:cubicBezTo>
                  <a:pt x="378203" y="355207"/>
                  <a:pt x="246219" y="199965"/>
                  <a:pt x="70764" y="164062"/>
                </a:cubicBezTo>
                <a:lnTo>
                  <a:pt x="0" y="156928"/>
                </a:lnTo>
                <a:lnTo>
                  <a:pt x="0" y="29609"/>
                </a:lnTo>
                <a:cubicBezTo>
                  <a:pt x="0" y="13256"/>
                  <a:pt x="13256" y="0"/>
                  <a:pt x="29609" y="0"/>
                </a:cubicBezTo>
                <a:close/>
              </a:path>
            </a:pathLst>
          </a:custGeom>
          <a:solidFill>
            <a:srgbClr val="FFFFFF"/>
          </a:solidFill>
          <a:ln w="22225" cap="flat" cmpd="sng" algn="ctr">
            <a:solidFill>
              <a:schemeClr val="accent2"/>
            </a:solidFill>
            <a:prstDash val="solid"/>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CC769AAC-DA4A-4790-4B95-1FB62A6462FE}"/>
              </a:ext>
            </a:extLst>
          </p:cNvPr>
          <p:cNvSpPr txBox="1"/>
          <p:nvPr/>
        </p:nvSpPr>
        <p:spPr>
          <a:xfrm>
            <a:off x="1779687" y="5168275"/>
            <a:ext cx="2563464"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12121"/>
                </a:solidFill>
                <a:effectLst/>
                <a:highlight>
                  <a:srgbClr val="FFFFFF"/>
                </a:highlight>
                <a:uLnTx/>
                <a:uFillTx/>
                <a:latin typeface="Segoe UI" panose="020B0502040204020203" pitchFamily="34" charset="0"/>
                <a:ea typeface="+mn-ea"/>
                <a:cs typeface="+mn-cs"/>
              </a:rPr>
              <a:t>Establish and ensure governance policies, active metadata, compliance, and insights into overall governance health.</a:t>
            </a:r>
          </a:p>
        </p:txBody>
      </p:sp>
      <p:sp>
        <p:nvSpPr>
          <p:cNvPr id="4" name="TextBox 3">
            <a:extLst>
              <a:ext uri="{FF2B5EF4-FFF2-40B4-BE49-F238E27FC236}">
                <a16:creationId xmlns:a16="http://schemas.microsoft.com/office/drawing/2014/main" id="{713056ED-C8BA-1451-9B3C-0644467879B3}"/>
              </a:ext>
            </a:extLst>
          </p:cNvPr>
          <p:cNvSpPr txBox="1"/>
          <p:nvPr/>
        </p:nvSpPr>
        <p:spPr>
          <a:xfrm>
            <a:off x="1554791" y="4821206"/>
            <a:ext cx="261320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Central Data Office</a:t>
            </a:r>
          </a:p>
        </p:txBody>
      </p:sp>
      <p:sp>
        <p:nvSpPr>
          <p:cNvPr id="13" name="Oval 12">
            <a:extLst>
              <a:ext uri="{FF2B5EF4-FFF2-40B4-BE49-F238E27FC236}">
                <a16:creationId xmlns:a16="http://schemas.microsoft.com/office/drawing/2014/main" id="{6679BF31-055B-3192-9183-85344A526476}"/>
              </a:ext>
              <a:ext uri="{C183D7F6-B498-43B3-948B-1728B52AA6E4}">
                <adec:decorative xmlns:adec="http://schemas.microsoft.com/office/drawing/2017/decorative" val="1"/>
              </a:ext>
            </a:extLst>
          </p:cNvPr>
          <p:cNvSpPr/>
          <p:nvPr/>
        </p:nvSpPr>
        <p:spPr bwMode="auto">
          <a:xfrm>
            <a:off x="666295" y="3816360"/>
            <a:ext cx="661572" cy="636539"/>
          </a:xfrm>
          <a:prstGeom prst="ellipse">
            <a:avLst/>
          </a:prstGeom>
          <a:gradFill>
            <a:gsLst>
              <a:gs pos="80712">
                <a:srgbClr val="7A75C1"/>
              </a:gs>
              <a:gs pos="18000">
                <a:srgbClr val="005A9E"/>
              </a:gs>
              <a:gs pos="96000">
                <a:srgbClr val="00B0F0"/>
              </a:gs>
            </a:gsLst>
            <a:lin ang="2700000" scaled="1"/>
          </a:gradFill>
          <a:ln w="12700" cap="flat" cmpd="sng" algn="ctr">
            <a:solidFill>
              <a:srgbClr val="0078D4"/>
            </a:solidFill>
            <a:prstDash val="solid"/>
            <a:miter lim="800000"/>
          </a:ln>
          <a:effectLst>
            <a:outerShdw blurRad="101600" dist="50800" dir="2700000" algn="tl" rotWithShape="0">
              <a:srgbClr val="FFFFFF">
                <a:lumMod val="50000"/>
                <a:lumOff val="50000"/>
                <a:alpha val="20000"/>
              </a:srgbClr>
            </a:outerShdw>
          </a:effectLst>
        </p:spPr>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0" cap="none" spc="0" normalizeH="0" baseline="0" noProof="0">
              <a:ln>
                <a:noFill/>
              </a:ln>
              <a:solidFill>
                <a:srgbClr val="225B61"/>
              </a:solidFill>
              <a:effectLst/>
              <a:uLnTx/>
              <a:uFillTx/>
              <a:latin typeface="Segoe Sans Display Semibold" pitchFamily="2" charset="0"/>
              <a:ea typeface="+mn-ea"/>
              <a:cs typeface="Segoe Sans Display Semibold" pitchFamily="2" charset="0"/>
            </a:endParaRPr>
          </a:p>
        </p:txBody>
      </p:sp>
      <p:pic>
        <p:nvPicPr>
          <p:cNvPr id="15" name="Picture 14">
            <a:extLst>
              <a:ext uri="{FF2B5EF4-FFF2-40B4-BE49-F238E27FC236}">
                <a16:creationId xmlns:a16="http://schemas.microsoft.com/office/drawing/2014/main" id="{E83E79D1-FDAC-F6F2-AD01-03680BE149A4}"/>
              </a:ext>
              <a:ext uri="{C183D7F6-B498-43B3-948B-1728B52AA6E4}">
                <adec:decorative xmlns:adec="http://schemas.microsoft.com/office/drawing/2017/decorative" val="1"/>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3871" t="15531" r="30506" b="47385"/>
          <a:stretch/>
        </p:blipFill>
        <p:spPr>
          <a:xfrm>
            <a:off x="709605" y="3852035"/>
            <a:ext cx="596840" cy="596840"/>
          </a:xfrm>
          <a:prstGeom prst="ellipse">
            <a:avLst/>
          </a:prstGeom>
          <a:gradFill>
            <a:gsLst>
              <a:gs pos="80712">
                <a:srgbClr val="7A75C1"/>
              </a:gs>
              <a:gs pos="18000">
                <a:srgbClr val="005A9E"/>
              </a:gs>
              <a:gs pos="96000">
                <a:srgbClr val="00B0F0"/>
              </a:gs>
            </a:gsLst>
            <a:lin ang="2700000" scaled="1"/>
          </a:gradFill>
          <a:ln>
            <a:noFill/>
          </a:ln>
          <a:effectLst>
            <a:outerShdw blurRad="101600" dist="50800" dir="2700000" algn="tl" rotWithShape="0">
              <a:srgbClr val="FFFFFF">
                <a:lumMod val="50000"/>
                <a:lumOff val="50000"/>
                <a:alpha val="20000"/>
              </a:srgbClr>
            </a:outerShdw>
          </a:effectLst>
        </p:spPr>
      </p:pic>
      <p:sp>
        <p:nvSpPr>
          <p:cNvPr id="20" name="Arrow: Right 19">
            <a:extLst>
              <a:ext uri="{FF2B5EF4-FFF2-40B4-BE49-F238E27FC236}">
                <a16:creationId xmlns:a16="http://schemas.microsoft.com/office/drawing/2014/main" id="{FC26D971-A733-0C3A-F9FC-4923012DEF1B}"/>
              </a:ext>
              <a:ext uri="{C183D7F6-B498-43B3-948B-1728B52AA6E4}">
                <adec:decorative xmlns:adec="http://schemas.microsoft.com/office/drawing/2017/decorative" val="1"/>
              </a:ext>
            </a:extLst>
          </p:cNvPr>
          <p:cNvSpPr/>
          <p:nvPr/>
        </p:nvSpPr>
        <p:spPr bwMode="auto">
          <a:xfrm>
            <a:off x="4881733" y="4757844"/>
            <a:ext cx="345792" cy="201861"/>
          </a:xfrm>
          <a:prstGeom prst="rightArrow">
            <a:avLst/>
          </a:prstGeom>
          <a:solidFill>
            <a:schemeClr val="accent2"/>
          </a:solidFill>
          <a:ln w="15875">
            <a:noFill/>
            <a:headEnd type="none" w="lg" len="med"/>
            <a:tailEnd type="none" w="lg" len="med"/>
          </a:ln>
          <a:effectLst>
            <a:outerShdw blurRad="203200" dist="12700" sx="102000" sy="102000" algn="ctr" rotWithShape="0">
              <a:prstClr val="black">
                <a:alpha val="14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056B789-6C3E-0BC1-702E-008E1AAEB5DC}"/>
              </a:ext>
            </a:extLst>
          </p:cNvPr>
          <p:cNvSpPr txBox="1"/>
          <p:nvPr/>
        </p:nvSpPr>
        <p:spPr>
          <a:xfrm>
            <a:off x="1583762" y="3733840"/>
            <a:ext cx="261956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0094C8"/>
                </a:solidFill>
                <a:effectLst/>
                <a:uLnTx/>
                <a:uFillTx/>
                <a:latin typeface="Segoe UI Semibold" panose="020B0702040204020203" pitchFamily="34" charset="0"/>
                <a:ea typeface="+mn-ea"/>
                <a:cs typeface="Segoe UI Semibold" panose="020B0702040204020203" pitchFamily="34" charset="0"/>
              </a:rPr>
              <a:t>Data Stewards</a:t>
            </a:r>
          </a:p>
        </p:txBody>
      </p:sp>
      <p:pic>
        <p:nvPicPr>
          <p:cNvPr id="8" name="Picture 7" descr="Icon&#10;&#10;Description automatically generated">
            <a:extLst>
              <a:ext uri="{FF2B5EF4-FFF2-40B4-BE49-F238E27FC236}">
                <a16:creationId xmlns:a16="http://schemas.microsoft.com/office/drawing/2014/main" id="{2ABF395F-F823-B66B-C420-14F3FA438D3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53390" y="5413284"/>
            <a:ext cx="382153" cy="382153"/>
          </a:xfrm>
          <a:prstGeom prst="rect">
            <a:avLst/>
          </a:prstGeom>
        </p:spPr>
      </p:pic>
      <p:pic>
        <p:nvPicPr>
          <p:cNvPr id="16" name="Picture 15">
            <a:extLst>
              <a:ext uri="{FF2B5EF4-FFF2-40B4-BE49-F238E27FC236}">
                <a16:creationId xmlns:a16="http://schemas.microsoft.com/office/drawing/2014/main" id="{28C7582F-3B95-C0BF-289B-00FDF3792EFA}"/>
              </a:ext>
            </a:extLst>
          </p:cNvPr>
          <p:cNvPicPr>
            <a:picLocks noChangeAspect="1"/>
          </p:cNvPicPr>
          <p:nvPr/>
        </p:nvPicPr>
        <p:blipFill>
          <a:blip r:embed="rId16"/>
          <a:stretch>
            <a:fillRect/>
          </a:stretch>
        </p:blipFill>
        <p:spPr>
          <a:xfrm>
            <a:off x="6846346" y="5373022"/>
            <a:ext cx="433919" cy="476653"/>
          </a:xfrm>
          <a:prstGeom prst="rect">
            <a:avLst/>
          </a:prstGeom>
        </p:spPr>
      </p:pic>
    </p:spTree>
    <p:extLst>
      <p:ext uri="{BB962C8B-B14F-4D97-AF65-F5344CB8AC3E}">
        <p14:creationId xmlns:p14="http://schemas.microsoft.com/office/powerpoint/2010/main" val="349252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50000" fill="hold" nodeType="withEffect">
                                  <p:stCondLst>
                                    <p:cond delay="0"/>
                                  </p:stCondLst>
                                  <p:childTnLst>
                                    <p:animMotion origin="layout" path="M -0.01744 0.00093 L 0.00092 0.00093 " pathEditMode="relative" rAng="0" ptsTypes="AA">
                                      <p:cBhvr>
                                        <p:cTn id="9" dur="500" fill="hold"/>
                                        <p:tgtEl>
                                          <p:spTgt spid="8"/>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961D10A6-8A80-439A-0CB2-0C63DD32A757}"/>
              </a:ext>
            </a:extLst>
          </p:cNvPr>
          <p:cNvSpPr/>
          <p:nvPr/>
        </p:nvSpPr>
        <p:spPr bwMode="auto">
          <a:xfrm>
            <a:off x="8925268" y="1682802"/>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DK" sz="2000" err="1">
              <a:solidFill>
                <a:srgbClr val="FFFFFF"/>
              </a:solidFill>
              <a:latin typeface="Segoe Sans Text Semilight"/>
              <a:cs typeface="Segoe UI" pitchFamily="34" charset="0"/>
            </a:endParaRPr>
          </a:p>
        </p:txBody>
      </p:sp>
      <p:sp>
        <p:nvSpPr>
          <p:cNvPr id="58" name="Round Same Side Corner Rectangle 57">
            <a:extLst>
              <a:ext uri="{FF2B5EF4-FFF2-40B4-BE49-F238E27FC236}">
                <a16:creationId xmlns:a16="http://schemas.microsoft.com/office/drawing/2014/main" id="{741D48D8-CBC5-B044-92D0-C23E53B56A6B}"/>
              </a:ext>
            </a:extLst>
          </p:cNvPr>
          <p:cNvSpPr/>
          <p:nvPr/>
        </p:nvSpPr>
        <p:spPr bwMode="auto">
          <a:xfrm rot="5400000">
            <a:off x="7967337" y="3834104"/>
            <a:ext cx="958737" cy="1977121"/>
          </a:xfrm>
          <a:prstGeom prst="round2SameRect">
            <a:avLst>
              <a:gd name="adj1" fmla="val 50000"/>
              <a:gd name="adj2" fmla="val 0"/>
            </a:avLst>
          </a:prstGeom>
          <a:solidFill>
            <a:schemeClr val="accent3">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2218A58D-66EF-5C70-06B3-CF0576DABBB1}"/>
              </a:ext>
            </a:extLst>
          </p:cNvPr>
          <p:cNvSpPr/>
          <p:nvPr/>
        </p:nvSpPr>
        <p:spPr bwMode="auto">
          <a:xfrm>
            <a:off x="8915800" y="1682803"/>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FFFFFF"/>
              </a:solidFill>
              <a:effectLst/>
              <a:uLnTx/>
              <a:uFillTx/>
              <a:latin typeface="Segoe Sans Text Semilight"/>
              <a:ea typeface="+mn-ea"/>
              <a:cs typeface="Segoe UI" pitchFamily="34" charset="0"/>
            </a:endParaRPr>
          </a:p>
        </p:txBody>
      </p:sp>
      <p:sp>
        <p:nvSpPr>
          <p:cNvPr id="9" name="Rectangle: Rounded Corners 8">
            <a:extLst>
              <a:ext uri="{FF2B5EF4-FFF2-40B4-BE49-F238E27FC236}">
                <a16:creationId xmlns:a16="http://schemas.microsoft.com/office/drawing/2014/main" id="{671EEB19-E458-8224-77BE-FEC005EC1041}"/>
              </a:ext>
            </a:extLst>
          </p:cNvPr>
          <p:cNvSpPr/>
          <p:nvPr/>
        </p:nvSpPr>
        <p:spPr bwMode="auto">
          <a:xfrm>
            <a:off x="338097" y="1682803"/>
            <a:ext cx="3076289" cy="4812495"/>
          </a:xfrm>
          <a:prstGeom prst="roundRect">
            <a:avLst/>
          </a:prstGeom>
          <a:noFill/>
          <a:ln w="349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FFFFFF"/>
              </a:solidFill>
              <a:effectLst/>
              <a:uLnTx/>
              <a:uFillTx/>
              <a:latin typeface="Segoe Sans Text Semilight"/>
              <a:ea typeface="Segoe UI" pitchFamily="34" charset="0"/>
              <a:cs typeface="Segoe UI" pitchFamily="34" charset="0"/>
            </a:endParaRPr>
          </a:p>
        </p:txBody>
      </p:sp>
      <p:sp>
        <p:nvSpPr>
          <p:cNvPr id="18" name="Round Same Side Corner Rectangle 17">
            <a:extLst>
              <a:ext uri="{FF2B5EF4-FFF2-40B4-BE49-F238E27FC236}">
                <a16:creationId xmlns:a16="http://schemas.microsoft.com/office/drawing/2014/main" id="{F49D0E64-D492-1243-8A80-46A9218131AE}"/>
              </a:ext>
            </a:extLst>
          </p:cNvPr>
          <p:cNvSpPr/>
          <p:nvPr/>
        </p:nvSpPr>
        <p:spPr bwMode="auto">
          <a:xfrm rot="16200000">
            <a:off x="3113748" y="1753505"/>
            <a:ext cx="958737" cy="1977121"/>
          </a:xfrm>
          <a:prstGeom prst="round2SameRect">
            <a:avLst>
              <a:gd name="adj1" fmla="val 50000"/>
              <a:gd name="adj2" fmla="val 0"/>
            </a:avLst>
          </a:prstGeom>
          <a:solidFill>
            <a:schemeClr val="accent2">
              <a:lumMod val="40000"/>
              <a:lumOff val="60000"/>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9896977F-96C7-F149-995C-5648A0400E26}"/>
              </a:ext>
            </a:extLst>
          </p:cNvPr>
          <p:cNvSpPr/>
          <p:nvPr/>
        </p:nvSpPr>
        <p:spPr bwMode="auto">
          <a:xfrm>
            <a:off x="4054584" y="1555968"/>
            <a:ext cx="4082832" cy="4082832"/>
          </a:xfrm>
          <a:prstGeom prst="ellipse">
            <a:avLst/>
          </a:prstGeom>
          <a:noFill/>
          <a:ln w="254000" cap="rnd">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sp>
        <p:nvSpPr>
          <p:cNvPr id="8" name="Title 7">
            <a:extLst>
              <a:ext uri="{FF2B5EF4-FFF2-40B4-BE49-F238E27FC236}">
                <a16:creationId xmlns:a16="http://schemas.microsoft.com/office/drawing/2014/main" id="{B969DA3E-A9D2-AB4E-93C6-1AFC6F71AAB4}"/>
              </a:ext>
            </a:extLst>
          </p:cNvPr>
          <p:cNvSpPr>
            <a:spLocks noGrp="1"/>
          </p:cNvSpPr>
          <p:nvPr>
            <p:ph type="title" idx="4294967295"/>
          </p:nvPr>
        </p:nvSpPr>
        <p:spPr>
          <a:xfrm>
            <a:off x="338097" y="398682"/>
            <a:ext cx="11029950" cy="549275"/>
          </a:xfrm>
        </p:spPr>
        <p:txBody>
          <a:bodyPr>
            <a:normAutofit fontScale="90000"/>
          </a:bodyPr>
          <a:lstStyle/>
          <a:p>
            <a:r>
              <a:rPr lang="en-US" dirty="0">
                <a:latin typeface="Segoe Pro Display" panose="020B0502040504020203"/>
              </a:rPr>
              <a:t>Microsoft Purview brings together solutions from our </a:t>
            </a:r>
            <a:br>
              <a:rPr lang="en-US" dirty="0">
                <a:latin typeface="Segoe Pro Display" panose="020B0502040504020203"/>
              </a:rPr>
            </a:br>
            <a:r>
              <a:rPr lang="en-US" dirty="0">
                <a:latin typeface="Segoe Pro Display" panose="020B0502040504020203"/>
              </a:rPr>
              <a:t>compliance and data governance portfolios</a:t>
            </a:r>
          </a:p>
        </p:txBody>
      </p:sp>
      <p:sp>
        <p:nvSpPr>
          <p:cNvPr id="2" name="Arc 1">
            <a:extLst>
              <a:ext uri="{FF2B5EF4-FFF2-40B4-BE49-F238E27FC236}">
                <a16:creationId xmlns:a16="http://schemas.microsoft.com/office/drawing/2014/main" id="{4D781CFA-6BAE-D54D-A7A3-16E9ACE77459}"/>
              </a:ext>
            </a:extLst>
          </p:cNvPr>
          <p:cNvSpPr/>
          <p:nvPr/>
        </p:nvSpPr>
        <p:spPr>
          <a:xfrm>
            <a:off x="4053678" y="1555062"/>
            <a:ext cx="4084644" cy="4084644"/>
          </a:xfrm>
          <a:prstGeom prst="arc">
            <a:avLst>
              <a:gd name="adj1" fmla="val 19852794"/>
              <a:gd name="adj2" fmla="val 8094665"/>
            </a:avLst>
          </a:prstGeom>
          <a:solidFill>
            <a:srgbClr val="FFFDF9"/>
          </a:solidFill>
          <a:ln w="254000" cap="rnd">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Arc 33">
            <a:extLst>
              <a:ext uri="{FF2B5EF4-FFF2-40B4-BE49-F238E27FC236}">
                <a16:creationId xmlns:a16="http://schemas.microsoft.com/office/drawing/2014/main" id="{423B7309-80BD-B84E-B4E7-AD7D69E32600}"/>
              </a:ext>
            </a:extLst>
          </p:cNvPr>
          <p:cNvSpPr/>
          <p:nvPr/>
        </p:nvSpPr>
        <p:spPr>
          <a:xfrm>
            <a:off x="4053678" y="1555062"/>
            <a:ext cx="4084644" cy="4084644"/>
          </a:xfrm>
          <a:prstGeom prst="arc">
            <a:avLst>
              <a:gd name="adj1" fmla="val 9118355"/>
              <a:gd name="adj2" fmla="val 18835314"/>
            </a:avLst>
          </a:prstGeom>
          <a:solidFill>
            <a:srgbClr val="FFFDF9"/>
          </a:solidFill>
          <a:ln w="2540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Oval 15">
            <a:extLst>
              <a:ext uri="{FF2B5EF4-FFF2-40B4-BE49-F238E27FC236}">
                <a16:creationId xmlns:a16="http://schemas.microsoft.com/office/drawing/2014/main" id="{89F77FBF-C082-E147-9DD1-4F8F91A64680}"/>
              </a:ext>
            </a:extLst>
          </p:cNvPr>
          <p:cNvSpPr/>
          <p:nvPr/>
        </p:nvSpPr>
        <p:spPr bwMode="auto">
          <a:xfrm>
            <a:off x="4071256" y="4321628"/>
            <a:ext cx="435430" cy="435430"/>
          </a:xfrm>
          <a:prstGeom prst="ellipse">
            <a:avLst/>
          </a:prstGeom>
          <a:solidFill>
            <a:schemeClr val="bg1"/>
          </a:solidFill>
          <a:ln w="635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9025C5D5-AA29-8049-9070-0714EE4AEC33}"/>
              </a:ext>
            </a:extLst>
          </p:cNvPr>
          <p:cNvSpPr/>
          <p:nvPr/>
        </p:nvSpPr>
        <p:spPr bwMode="auto">
          <a:xfrm>
            <a:off x="7652656" y="2362200"/>
            <a:ext cx="435430" cy="435430"/>
          </a:xfrm>
          <a:prstGeom prst="ellipse">
            <a:avLst/>
          </a:prstGeom>
          <a:solidFill>
            <a:schemeClr val="bg1"/>
          </a:solidFill>
          <a:ln w="635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B54A4613-3830-AD4A-BDAB-DDA030D65583}"/>
              </a:ext>
            </a:extLst>
          </p:cNvPr>
          <p:cNvGrpSpPr/>
          <p:nvPr/>
        </p:nvGrpSpPr>
        <p:grpSpPr>
          <a:xfrm>
            <a:off x="3561703" y="2643794"/>
            <a:ext cx="303159" cy="196543"/>
            <a:chOff x="3444749" y="2555708"/>
            <a:chExt cx="537066" cy="348189"/>
          </a:xfrm>
          <a:solidFill>
            <a:schemeClr val="accent2"/>
          </a:solidFill>
        </p:grpSpPr>
        <p:sp>
          <p:nvSpPr>
            <p:cNvPr id="43" name="Freeform 42">
              <a:extLst>
                <a:ext uri="{FF2B5EF4-FFF2-40B4-BE49-F238E27FC236}">
                  <a16:creationId xmlns:a16="http://schemas.microsoft.com/office/drawing/2014/main" id="{66868804-584E-BD42-853B-55D35102BE83}"/>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Freeform 44">
              <a:extLst>
                <a:ext uri="{FF2B5EF4-FFF2-40B4-BE49-F238E27FC236}">
                  <a16:creationId xmlns:a16="http://schemas.microsoft.com/office/drawing/2014/main" id="{9E9A3C1A-691A-0D4D-AC07-9AE04ADD63D4}"/>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7" name="!! Azure Sentinel">
            <a:extLst>
              <a:ext uri="{FF2B5EF4-FFF2-40B4-BE49-F238E27FC236}">
                <a16:creationId xmlns:a16="http://schemas.microsoft.com/office/drawing/2014/main" id="{F9B9F19C-E58A-9346-8252-9BF9B87A45F9}"/>
              </a:ext>
              <a:ext uri="{C183D7F6-B498-43B3-948B-1728B52AA6E4}">
                <adec:decorative xmlns:adec="http://schemas.microsoft.com/office/drawing/2017/decorative" val="1"/>
              </a:ext>
            </a:extLst>
          </p:cNvPr>
          <p:cNvSpPr/>
          <p:nvPr/>
        </p:nvSpPr>
        <p:spPr bwMode="auto">
          <a:xfrm>
            <a:off x="4815975" y="3116252"/>
            <a:ext cx="2560049" cy="579279"/>
          </a:xfrm>
          <a:prstGeom prst="rect">
            <a:avLst/>
          </a:prstGeom>
          <a:noFill/>
        </p:spPr>
        <p:txBody>
          <a:bodyPr wrap="square" lIns="0" tIns="0" rIns="0" bIns="0" anchor="t" anchorCtr="0">
            <a:noAutofit/>
          </a:bodyPr>
          <a:lstStyle/>
          <a:p>
            <a:pPr marL="0" marR="0" lvl="0" indent="0" algn="ctr" defTabSz="878527" rtl="0" eaLnBrk="1" fontAlgn="auto" latinLnBrk="0" hangingPunct="1">
              <a:lnSpc>
                <a:spcPct val="100000"/>
              </a:lnSpc>
              <a:spcBef>
                <a:spcPts val="0"/>
              </a:spcBef>
              <a:spcAft>
                <a:spcPts val="0"/>
              </a:spcAft>
              <a:buClrTx/>
              <a:buSzTx/>
              <a:buFontTx/>
              <a:buNone/>
              <a:tabLst/>
              <a:defRPr/>
            </a:pPr>
            <a:r>
              <a:rPr kumimoji="0" lang="en-US" sz="3200" b="1" i="0" u="none" strike="noStrike" kern="0" cap="none" spc="-49" normalizeH="0" baseline="0" noProof="0">
                <a:ln w="3175">
                  <a:noFill/>
                </a:ln>
                <a:gradFill>
                  <a:gsLst>
                    <a:gs pos="0">
                      <a:srgbClr val="000000"/>
                    </a:gs>
                    <a:gs pos="100000">
                      <a:srgbClr val="000000"/>
                    </a:gs>
                  </a:gsLst>
                  <a:lin ang="18900000" scaled="1"/>
                </a:gradFill>
                <a:effectLst/>
                <a:uLnTx/>
                <a:uFillTx/>
                <a:latin typeface="Segoe Pro Display" panose="020B0502040504020203"/>
                <a:ea typeface="+mn-ea"/>
                <a:cs typeface="Segoe UI" pitchFamily="34" charset="0"/>
              </a:rPr>
              <a:t>Microsoft Purview</a:t>
            </a:r>
          </a:p>
        </p:txBody>
      </p:sp>
      <p:grpSp>
        <p:nvGrpSpPr>
          <p:cNvPr id="59" name="Group 58">
            <a:extLst>
              <a:ext uri="{FF2B5EF4-FFF2-40B4-BE49-F238E27FC236}">
                <a16:creationId xmlns:a16="http://schemas.microsoft.com/office/drawing/2014/main" id="{F2EA6B2A-FBD7-0D41-9786-D6C1FD2949C9}"/>
              </a:ext>
            </a:extLst>
          </p:cNvPr>
          <p:cNvGrpSpPr/>
          <p:nvPr/>
        </p:nvGrpSpPr>
        <p:grpSpPr>
          <a:xfrm rot="10800000">
            <a:off x="8196334" y="4724392"/>
            <a:ext cx="303159" cy="196543"/>
            <a:chOff x="3444749" y="2555708"/>
            <a:chExt cx="537066" cy="348189"/>
          </a:xfrm>
          <a:solidFill>
            <a:schemeClr val="accent3"/>
          </a:solidFill>
        </p:grpSpPr>
        <p:sp>
          <p:nvSpPr>
            <p:cNvPr id="60" name="Freeform 59">
              <a:extLst>
                <a:ext uri="{FF2B5EF4-FFF2-40B4-BE49-F238E27FC236}">
                  <a16:creationId xmlns:a16="http://schemas.microsoft.com/office/drawing/2014/main" id="{59F0AC17-0953-444F-BBC3-EDF5EFC90675}"/>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Freeform 60">
              <a:extLst>
                <a:ext uri="{FF2B5EF4-FFF2-40B4-BE49-F238E27FC236}">
                  <a16:creationId xmlns:a16="http://schemas.microsoft.com/office/drawing/2014/main" id="{0090DE0F-7392-404D-A888-612FBB206977}"/>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8CAC56D9-9525-DC4A-B411-0B469D110B4D}"/>
              </a:ext>
            </a:extLst>
          </p:cNvPr>
          <p:cNvGrpSpPr/>
          <p:nvPr/>
        </p:nvGrpSpPr>
        <p:grpSpPr>
          <a:xfrm>
            <a:off x="588263" y="2378184"/>
            <a:ext cx="2959645" cy="4117114"/>
            <a:chOff x="588263" y="2378184"/>
            <a:chExt cx="2959645" cy="4117114"/>
          </a:xfrm>
        </p:grpSpPr>
        <p:sp>
          <p:nvSpPr>
            <p:cNvPr id="62" name="TextBox 61">
              <a:extLst>
                <a:ext uri="{FF2B5EF4-FFF2-40B4-BE49-F238E27FC236}">
                  <a16:creationId xmlns:a16="http://schemas.microsoft.com/office/drawing/2014/main" id="{2A33E04F-DD67-0A40-B58A-D21A29C7689D}"/>
                </a:ext>
              </a:extLst>
            </p:cNvPr>
            <p:cNvSpPr txBox="1"/>
            <p:nvPr/>
          </p:nvSpPr>
          <p:spPr>
            <a:xfrm>
              <a:off x="588263" y="3657598"/>
              <a:ext cx="2959645" cy="2837700"/>
            </a:xfrm>
            <a:prstGeom prst="rect">
              <a:avLst/>
            </a:prstGeom>
            <a:noFill/>
          </p:spPr>
          <p:style>
            <a:lnRef idx="0">
              <a:scrgbClr r="0" g="0" b="0"/>
            </a:lnRef>
            <a:fillRef idx="0">
              <a:scrgbClr r="0" g="0" b="0"/>
            </a:fillRef>
            <a:effectRef idx="0">
              <a:scrgbClr r="0" g="0" b="0"/>
            </a:effectRef>
            <a:fontRef idx="major"/>
          </p:style>
          <p:txBody>
            <a:bodyPr wrap="square" lIns="0" rIns="0" rtlCol="0">
              <a:spAutoFit/>
            </a:bodyPr>
            <a:lstStyle/>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Information Protection </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Loss Prevention</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Lifecycle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Data Connectors</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Insider Risk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eDiscovery</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Audi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Records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Communication Compliance</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rPr>
                <a:t>Compliance Manager</a:t>
              </a:r>
            </a:p>
            <a:p>
              <a:pPr marL="0" marR="0" lvl="0" indent="0" algn="l" defTabSz="914192"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0" cap="none" spc="0" normalizeH="0" baseline="0" noProof="0" dirty="0">
                <a:ln>
                  <a:noFill/>
                </a:ln>
                <a:gradFill>
                  <a:gsLst>
                    <a:gs pos="0">
                      <a:srgbClr val="000000"/>
                    </a:gs>
                    <a:gs pos="100000">
                      <a:srgbClr val="000000"/>
                    </a:gs>
                  </a:gsLst>
                  <a:lin ang="18900000" scaled="1"/>
                </a:gradFill>
                <a:effectLst/>
                <a:uLnTx/>
                <a:uFillTx/>
                <a:latin typeface="Segoe UI"/>
                <a:ea typeface="+mj-ea"/>
                <a:cs typeface="+mj-cs"/>
              </a:endParaRPr>
            </a:p>
          </p:txBody>
        </p:sp>
        <p:grpSp>
          <p:nvGrpSpPr>
            <p:cNvPr id="3" name="Group 2">
              <a:extLst>
                <a:ext uri="{FF2B5EF4-FFF2-40B4-BE49-F238E27FC236}">
                  <a16:creationId xmlns:a16="http://schemas.microsoft.com/office/drawing/2014/main" id="{5EC97463-B50F-6148-B26D-BED4AAC8DF4C}"/>
                </a:ext>
              </a:extLst>
            </p:cNvPr>
            <p:cNvGrpSpPr/>
            <p:nvPr/>
          </p:nvGrpSpPr>
          <p:grpSpPr>
            <a:xfrm>
              <a:off x="588263" y="2378184"/>
              <a:ext cx="1891618" cy="1181445"/>
              <a:chOff x="588263" y="2378184"/>
              <a:chExt cx="1891618" cy="1181445"/>
            </a:xfrm>
          </p:grpSpPr>
          <p:sp>
            <p:nvSpPr>
              <p:cNvPr id="31" name="TextBox 30">
                <a:extLst>
                  <a:ext uri="{FF2B5EF4-FFF2-40B4-BE49-F238E27FC236}">
                    <a16:creationId xmlns:a16="http://schemas.microsoft.com/office/drawing/2014/main" id="{DC38CB7D-28A7-0C42-9110-EDF836932B71}"/>
                  </a:ext>
                  <a:ext uri="{C183D7F6-B498-43B3-948B-1728B52AA6E4}">
                    <adec:decorative xmlns:adec="http://schemas.microsoft.com/office/drawing/2017/decorative" val="1"/>
                  </a:ext>
                </a:extLst>
              </p:cNvPr>
              <p:cNvSpPr txBox="1"/>
              <p:nvPr/>
            </p:nvSpPr>
            <p:spPr>
              <a:xfrm>
                <a:off x="588263" y="3010862"/>
                <a:ext cx="1891618" cy="418138"/>
              </a:xfrm>
              <a:prstGeom prst="rect">
                <a:avLst/>
              </a:prstGeom>
              <a:noFill/>
            </p:spPr>
            <p:txBody>
              <a:bodyPr wrap="square" lIns="0" tIns="0" rIns="0" bIns="0" rtlCol="0" anchor="t">
                <a:no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algn="l" defTabSz="878527" rtl="0" eaLnBrk="1" fontAlgn="auto" latinLnBrk="0" hangingPunct="1">
                  <a:lnSpc>
                    <a:spcPct val="90000"/>
                  </a:lnSpc>
                  <a:spcBef>
                    <a:spcPts val="0"/>
                  </a:spcBef>
                  <a:spcAft>
                    <a:spcPts val="565"/>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n-ea"/>
                    <a:cs typeface="+mn-cs"/>
                  </a:rPr>
                  <a:t>For risk, compliance, and legal teams</a:t>
                </a:r>
              </a:p>
            </p:txBody>
          </p:sp>
          <p:sp>
            <p:nvSpPr>
              <p:cNvPr id="37" name="!! SIEM">
                <a:extLst>
                  <a:ext uri="{FF2B5EF4-FFF2-40B4-BE49-F238E27FC236}">
                    <a16:creationId xmlns:a16="http://schemas.microsoft.com/office/drawing/2014/main" id="{D83793DB-15B6-A747-88F3-150D6FFFBA06}"/>
                  </a:ext>
                  <a:ext uri="{C183D7F6-B498-43B3-948B-1728B52AA6E4}">
                    <adec:decorative xmlns:adec="http://schemas.microsoft.com/office/drawing/2017/decorative" val="1"/>
                  </a:ext>
                </a:extLst>
              </p:cNvPr>
              <p:cNvSpPr/>
              <p:nvPr/>
            </p:nvSpPr>
            <p:spPr bwMode="auto">
              <a:xfrm>
                <a:off x="588263" y="2378184"/>
                <a:ext cx="1820828" cy="295298"/>
              </a:xfrm>
              <a:prstGeom prst="rect">
                <a:avLst/>
              </a:prstGeom>
              <a:noFill/>
            </p:spPr>
            <p:txBody>
              <a:bodyPr wrap="square" lIns="0" tIns="0" rIns="0" bIns="0" anchor="ctr" anchorCtr="0">
                <a:no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9" normalizeH="0" baseline="0" noProof="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Risk &amp; </a:t>
                </a:r>
                <a:r>
                  <a:rPr kumimoji="0" lang="en-US" sz="2400" b="1" i="0" u="none" strike="noStrike" kern="1200" cap="none" spc="-49" normalizeH="0" baseline="0" noProof="0">
                    <a:ln w="3175">
                      <a:noFill/>
                    </a:ln>
                    <a:solidFill>
                      <a:srgbClr val="FF0000"/>
                    </a:solidFill>
                    <a:effectLst/>
                    <a:uLnTx/>
                    <a:uFillTx/>
                    <a:latin typeface="Segoe UI Semibold"/>
                    <a:ea typeface="+mn-ea"/>
                    <a:cs typeface="Segoe UI" panose="020B0502040204020203" pitchFamily="34" charset="0"/>
                  </a:rPr>
                  <a:t>compliance</a:t>
                </a:r>
              </a:p>
            </p:txBody>
          </p:sp>
          <p:cxnSp>
            <p:nvCxnSpPr>
              <p:cNvPr id="22" name="Straight Connector 21">
                <a:extLst>
                  <a:ext uri="{FF2B5EF4-FFF2-40B4-BE49-F238E27FC236}">
                    <a16:creationId xmlns:a16="http://schemas.microsoft.com/office/drawing/2014/main" id="{FFDF5E69-07EA-BF46-9CA1-6CB621FDE214}"/>
                  </a:ext>
                </a:extLst>
              </p:cNvPr>
              <p:cNvCxnSpPr/>
              <p:nvPr/>
            </p:nvCxnSpPr>
            <p:spPr>
              <a:xfrm>
                <a:off x="588263" y="3559629"/>
                <a:ext cx="522080" cy="0"/>
              </a:xfrm>
              <a:prstGeom prst="line">
                <a:avLst/>
              </a:prstGeom>
              <a:ln w="381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A89FEB84-4170-E141-987B-EEC0536462CC}"/>
              </a:ext>
            </a:extLst>
          </p:cNvPr>
          <p:cNvGrpSpPr/>
          <p:nvPr/>
        </p:nvGrpSpPr>
        <p:grpSpPr>
          <a:xfrm>
            <a:off x="9076587" y="2956000"/>
            <a:ext cx="2527150" cy="2649955"/>
            <a:chOff x="9076587" y="2956000"/>
            <a:chExt cx="2527150" cy="2649955"/>
          </a:xfrm>
        </p:grpSpPr>
        <p:sp>
          <p:nvSpPr>
            <p:cNvPr id="30" name="!! Microsoft 365 text">
              <a:extLst>
                <a:ext uri="{FF2B5EF4-FFF2-40B4-BE49-F238E27FC236}">
                  <a16:creationId xmlns:a16="http://schemas.microsoft.com/office/drawing/2014/main" id="{D65FD512-B782-3E44-BBB2-D8F5392F365C}"/>
                </a:ext>
                <a:ext uri="{C183D7F6-B498-43B3-948B-1728B52AA6E4}">
                  <adec:decorative xmlns:adec="http://schemas.microsoft.com/office/drawing/2017/decorative" val="1"/>
                </a:ext>
              </a:extLst>
            </p:cNvPr>
            <p:cNvSpPr txBox="1"/>
            <p:nvPr/>
          </p:nvSpPr>
          <p:spPr>
            <a:xfrm>
              <a:off x="9275369" y="5104856"/>
              <a:ext cx="2328368" cy="501099"/>
            </a:xfrm>
            <a:prstGeom prst="rect">
              <a:avLst/>
            </a:prstGeom>
            <a:noFill/>
            <a:effectLst/>
          </p:spPr>
          <p:txBody>
            <a:bodyPr wrap="square" lIns="0" tIns="0" rIns="0" bIns="0" rtlCol="0" anchor="t" anchorCtr="0">
              <a:noAutofit/>
            </a:bodyPr>
            <a:lstStyle/>
            <a:p>
              <a:pPr marL="0" marR="0" lvl="0" indent="0" algn="r" defTabSz="878527" rtl="0" eaLnBrk="1" fontAlgn="auto" latinLnBrk="0" hangingPunct="1">
                <a:lnSpc>
                  <a:spcPct val="90000"/>
                </a:lnSpc>
                <a:spcBef>
                  <a:spcPts val="0"/>
                </a:spcBef>
                <a:spcAft>
                  <a:spcPts val="565"/>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n-ea"/>
                  <a:cs typeface="+mn-cs"/>
                </a:rPr>
                <a:t>For data consumers, data engineers, data officers</a:t>
              </a:r>
            </a:p>
          </p:txBody>
        </p:sp>
        <p:grpSp>
          <p:nvGrpSpPr>
            <p:cNvPr id="4" name="Group 3">
              <a:extLst>
                <a:ext uri="{FF2B5EF4-FFF2-40B4-BE49-F238E27FC236}">
                  <a16:creationId xmlns:a16="http://schemas.microsoft.com/office/drawing/2014/main" id="{66092CAA-1F32-8443-AFE4-B214BDE936A0}"/>
                </a:ext>
              </a:extLst>
            </p:cNvPr>
            <p:cNvGrpSpPr/>
            <p:nvPr/>
          </p:nvGrpSpPr>
          <p:grpSpPr>
            <a:xfrm>
              <a:off x="9076587" y="2956000"/>
              <a:ext cx="2527150" cy="1811476"/>
              <a:chOff x="9076587" y="2956000"/>
              <a:chExt cx="2527150" cy="1811476"/>
            </a:xfrm>
          </p:grpSpPr>
          <p:sp>
            <p:nvSpPr>
              <p:cNvPr id="41" name="!! XDR">
                <a:extLst>
                  <a:ext uri="{FF2B5EF4-FFF2-40B4-BE49-F238E27FC236}">
                    <a16:creationId xmlns:a16="http://schemas.microsoft.com/office/drawing/2014/main" id="{28DFCCF1-C932-B543-8537-CDC7B72FD133}"/>
                  </a:ext>
                  <a:ext uri="{C183D7F6-B498-43B3-948B-1728B52AA6E4}">
                    <adec:decorative xmlns:adec="http://schemas.microsoft.com/office/drawing/2017/decorative" val="1"/>
                  </a:ext>
                </a:extLst>
              </p:cNvPr>
              <p:cNvSpPr/>
              <p:nvPr/>
            </p:nvSpPr>
            <p:spPr bwMode="auto">
              <a:xfrm>
                <a:off x="9633431" y="4472178"/>
                <a:ext cx="1970306" cy="295298"/>
              </a:xfrm>
              <a:prstGeom prst="rect">
                <a:avLst/>
              </a:prstGeom>
              <a:noFill/>
            </p:spPr>
            <p:txBody>
              <a:bodyPr wrap="square" lIns="0" tIns="0" rIns="0" bIns="0" anchor="ctr" anchorCtr="0">
                <a:noAutofit/>
              </a:bodyPr>
              <a:lstStyle/>
              <a:p>
                <a:pPr marL="0" marR="0" lvl="0" indent="0" algn="r" defTabSz="87852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9" normalizeH="0" baseline="0" noProof="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Unified </a:t>
                </a:r>
                <a:r>
                  <a:rPr kumimoji="0" lang="en-US" sz="2400" b="0" i="0" u="none" strike="noStrike" kern="1200" cap="none" spc="-49" normalizeH="0" baseline="0" noProof="0">
                    <a:ln w="3175">
                      <a:noFill/>
                    </a:ln>
                    <a:solidFill>
                      <a:srgbClr val="FF0000"/>
                    </a:solidFill>
                    <a:effectLst/>
                    <a:uLnTx/>
                    <a:uFillTx/>
                    <a:latin typeface="Segoe UI Semibold"/>
                    <a:ea typeface="+mn-ea"/>
                    <a:cs typeface="Segoe UI" panose="020B0502040204020203" pitchFamily="34" charset="0"/>
                  </a:rPr>
                  <a:t>data</a:t>
                </a:r>
                <a:r>
                  <a:rPr kumimoji="0" lang="en-US" sz="2400" b="0" i="0" u="none" strike="noStrike" kern="1200" cap="none" spc="-49" normalizeH="0" baseline="0" noProof="0">
                    <a:ln w="3175">
                      <a:noFill/>
                    </a:ln>
                    <a:gradFill>
                      <a:gsLst>
                        <a:gs pos="0">
                          <a:srgbClr val="000000"/>
                        </a:gs>
                        <a:gs pos="100000">
                          <a:srgbClr val="000000">
                            <a:lumMod val="85000"/>
                            <a:lumOff val="15000"/>
                          </a:srgbClr>
                        </a:gs>
                      </a:gsLst>
                      <a:lin ang="2700000" scaled="1"/>
                    </a:gradFill>
                    <a:effectLst/>
                    <a:uLnTx/>
                    <a:uFillTx/>
                    <a:latin typeface="Segoe UI Semibold"/>
                    <a:ea typeface="+mn-ea"/>
                    <a:cs typeface="Segoe UI" panose="020B0502040204020203" pitchFamily="34" charset="0"/>
                  </a:rPr>
                  <a:t> </a:t>
                </a:r>
                <a:r>
                  <a:rPr kumimoji="0" lang="en-US" sz="2400" b="1" i="0" u="none" strike="noStrike" kern="1200" cap="none" spc="-49" normalizeH="0" baseline="0" noProof="0">
                    <a:ln w="3175">
                      <a:noFill/>
                    </a:ln>
                    <a:solidFill>
                      <a:srgbClr val="FF0000"/>
                    </a:solidFill>
                    <a:effectLst/>
                    <a:uLnTx/>
                    <a:uFillTx/>
                    <a:latin typeface="Segoe UI Semibold"/>
                    <a:ea typeface="+mn-ea"/>
                    <a:cs typeface="Segoe UI" panose="020B0502040204020203" pitchFamily="34" charset="0"/>
                  </a:rPr>
                  <a:t>governance</a:t>
                </a:r>
              </a:p>
            </p:txBody>
          </p:sp>
          <p:sp>
            <p:nvSpPr>
              <p:cNvPr id="63" name="TextBox 62">
                <a:extLst>
                  <a:ext uri="{FF2B5EF4-FFF2-40B4-BE49-F238E27FC236}">
                    <a16:creationId xmlns:a16="http://schemas.microsoft.com/office/drawing/2014/main" id="{0B29338D-7F0D-AA4C-BC81-55D1790265A7}"/>
                  </a:ext>
                </a:extLst>
              </p:cNvPr>
              <p:cNvSpPr txBox="1"/>
              <p:nvPr/>
            </p:nvSpPr>
            <p:spPr>
              <a:xfrm>
                <a:off x="9076587" y="2956000"/>
                <a:ext cx="2527150" cy="1083374"/>
              </a:xfrm>
              <a:prstGeom prst="rect">
                <a:avLst/>
              </a:prstGeom>
              <a:noFill/>
            </p:spPr>
            <p:style>
              <a:lnRef idx="0">
                <a:scrgbClr r="0" g="0" b="0"/>
              </a:lnRef>
              <a:fillRef idx="0">
                <a:scrgbClr r="0" g="0" b="0"/>
              </a:fillRef>
              <a:effectRef idx="0">
                <a:scrgbClr r="0" g="0" b="0"/>
              </a:effectRef>
              <a:fontRef idx="major"/>
            </p:style>
            <p:txBody>
              <a:bodyPr wrap="square" lIns="0" rIns="0" rtlCol="0">
                <a:spAutoFit/>
              </a:bodyPr>
              <a:lstStyle/>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rPr>
                  <a:t>Data Map</a:t>
                </a: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rPr>
                  <a:t>Data Catalog</a:t>
                </a: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lang="en-US" sz="1400" kern="0">
                    <a:gradFill>
                      <a:gsLst>
                        <a:gs pos="0">
                          <a:srgbClr val="000000"/>
                        </a:gs>
                        <a:gs pos="100000">
                          <a:srgbClr val="000000"/>
                        </a:gs>
                      </a:gsLst>
                      <a:lin ang="18900000" scaled="1"/>
                    </a:gradFill>
                    <a:latin typeface="Segoe UI"/>
                  </a:rPr>
                  <a:t>Data Quality</a:t>
                </a:r>
                <a:endPar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endParaRPr>
              </a:p>
              <a:p>
                <a:pPr marL="0" marR="0" lvl="0" indent="0" algn="r"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gradFill>
                      <a:gsLst>
                        <a:gs pos="0">
                          <a:srgbClr val="000000"/>
                        </a:gs>
                        <a:gs pos="100000">
                          <a:srgbClr val="000000"/>
                        </a:gs>
                      </a:gsLst>
                      <a:lin ang="18900000" scaled="1"/>
                    </a:gradFill>
                    <a:effectLst/>
                    <a:uLnTx/>
                    <a:uFillTx/>
                    <a:latin typeface="Segoe UI"/>
                    <a:ea typeface="+mj-ea"/>
                    <a:cs typeface="+mj-cs"/>
                  </a:rPr>
                  <a:t>Data Estate Insights</a:t>
                </a:r>
              </a:p>
            </p:txBody>
          </p:sp>
          <p:cxnSp>
            <p:nvCxnSpPr>
              <p:cNvPr id="66" name="Straight Connector 65">
                <a:extLst>
                  <a:ext uri="{FF2B5EF4-FFF2-40B4-BE49-F238E27FC236}">
                    <a16:creationId xmlns:a16="http://schemas.microsoft.com/office/drawing/2014/main" id="{CE9DAA4E-91FF-1D4A-BD1C-B2C7008A3EF8}"/>
                  </a:ext>
                </a:extLst>
              </p:cNvPr>
              <p:cNvCxnSpPr/>
              <p:nvPr/>
            </p:nvCxnSpPr>
            <p:spPr>
              <a:xfrm>
                <a:off x="11038548" y="4136571"/>
                <a:ext cx="522080" cy="0"/>
              </a:xfrm>
              <a:prstGeom prst="line">
                <a:avLst/>
              </a:prstGeom>
              <a:ln w="38100" cap="rnd">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1" name="TextBox 10">
            <a:extLst>
              <a:ext uri="{FF2B5EF4-FFF2-40B4-BE49-F238E27FC236}">
                <a16:creationId xmlns:a16="http://schemas.microsoft.com/office/drawing/2014/main" id="{BC7FD570-6B9A-67B9-DDE5-70157F450ECE}"/>
              </a:ext>
            </a:extLst>
          </p:cNvPr>
          <p:cNvSpPr txBox="1"/>
          <p:nvPr/>
        </p:nvSpPr>
        <p:spPr>
          <a:xfrm>
            <a:off x="1289304" y="1728417"/>
            <a:ext cx="102374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a:ln>
                  <a:noFill/>
                </a:ln>
                <a:solidFill>
                  <a:srgbClr val="225B61"/>
                </a:solidFill>
                <a:effectLst/>
                <a:uLnTx/>
                <a:uFillTx/>
                <a:latin typeface="Segoe Sans Text Semilight"/>
                <a:ea typeface="+mn-ea"/>
                <a:cs typeface="+mn-cs"/>
              </a:rPr>
              <a:t>Frontend</a:t>
            </a:r>
            <a:endParaRPr kumimoji="0" lang="en-DK" sz="2000" b="0" i="1" u="none" strike="noStrike" kern="1200" cap="none" spc="0" normalizeH="0" baseline="0" noProof="0" err="1">
              <a:ln>
                <a:noFill/>
              </a:ln>
              <a:solidFill>
                <a:srgbClr val="225B61"/>
              </a:solidFill>
              <a:effectLst/>
              <a:uLnTx/>
              <a:uFillTx/>
              <a:latin typeface="Segoe Sans Text Semilight"/>
              <a:ea typeface="+mn-ea"/>
              <a:cs typeface="+mn-cs"/>
            </a:endParaRPr>
          </a:p>
        </p:txBody>
      </p:sp>
      <p:sp>
        <p:nvSpPr>
          <p:cNvPr id="12" name="TextBox 11">
            <a:extLst>
              <a:ext uri="{FF2B5EF4-FFF2-40B4-BE49-F238E27FC236}">
                <a16:creationId xmlns:a16="http://schemas.microsoft.com/office/drawing/2014/main" id="{61421B32-5115-D0D2-5C2D-A3E82CE2FEBF}"/>
              </a:ext>
            </a:extLst>
          </p:cNvPr>
          <p:cNvSpPr txBox="1"/>
          <p:nvPr/>
        </p:nvSpPr>
        <p:spPr>
          <a:xfrm>
            <a:off x="9927682" y="1728416"/>
            <a:ext cx="950260"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a:ln>
                  <a:noFill/>
                </a:ln>
                <a:solidFill>
                  <a:srgbClr val="225B61"/>
                </a:solidFill>
                <a:effectLst/>
                <a:uLnTx/>
                <a:uFillTx/>
                <a:latin typeface="Segoe Sans Text Semilight"/>
                <a:ea typeface="+mn-ea"/>
                <a:cs typeface="+mn-cs"/>
              </a:rPr>
              <a:t>Backend</a:t>
            </a:r>
            <a:endParaRPr kumimoji="0" lang="en-DK" sz="2000" b="0" i="1" u="none" strike="noStrike" kern="1200" cap="none" spc="0" normalizeH="0" baseline="0" noProof="0" err="1">
              <a:ln>
                <a:noFill/>
              </a:ln>
              <a:solidFill>
                <a:srgbClr val="225B61"/>
              </a:solidFill>
              <a:effectLst/>
              <a:uLnTx/>
              <a:uFillTx/>
              <a:latin typeface="Segoe Sans Text Semilight"/>
              <a:ea typeface="+mn-ea"/>
              <a:cs typeface="+mn-cs"/>
            </a:endParaRPr>
          </a:p>
        </p:txBody>
      </p:sp>
    </p:spTree>
    <p:extLst>
      <p:ext uri="{BB962C8B-B14F-4D97-AF65-F5344CB8AC3E}">
        <p14:creationId xmlns:p14="http://schemas.microsoft.com/office/powerpoint/2010/main" val="224684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accel="50000" decel="50000" fill="hold" nodeType="withEffect">
                                  <p:stCondLst>
                                    <p:cond delay="5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63" presetClass="path" presetSubtype="0" accel="50000" decel="50000" fill="hold" nodeType="withEffect">
                                  <p:stCondLst>
                                    <p:cond delay="500"/>
                                  </p:stCondLst>
                                  <p:childTnLst>
                                    <p:animMotion origin="layout" path="M -0.01367 2.22222E-6 L -4.375E-6 2.22222E-6 " pathEditMode="relative" rAng="0" ptsTypes="AA">
                                      <p:cBhvr>
                                        <p:cTn id="9" dur="750" fill="hold"/>
                                        <p:tgtEl>
                                          <p:spTgt spid="19"/>
                                        </p:tgtEl>
                                        <p:attrNameLst>
                                          <p:attrName>ppt_x</p:attrName>
                                          <p:attrName>ppt_y</p:attrName>
                                        </p:attrNameLst>
                                      </p:cBhvr>
                                      <p:rCtr x="677" y="0"/>
                                    </p:animMotion>
                                  </p:childTnLst>
                                </p:cTn>
                              </p:par>
                              <p:par>
                                <p:cTn id="10" presetID="10" presetClass="entr" presetSubtype="0" accel="50000" decel="50000" fill="hold" nodeType="withEffect">
                                  <p:stCondLst>
                                    <p:cond delay="50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63" presetClass="path" presetSubtype="0" accel="50000" decel="50000" fill="hold" nodeType="withEffect">
                                  <p:stCondLst>
                                    <p:cond delay="500"/>
                                  </p:stCondLst>
                                  <p:childTnLst>
                                    <p:animMotion origin="layout" path="M 0.01562 -3.7037E-6 L 3.54167E-6 -3.7037E-6 " pathEditMode="relative" rAng="0" ptsTypes="AA">
                                      <p:cBhvr>
                                        <p:cTn id="14" dur="750" fill="hold"/>
                                        <p:tgtEl>
                                          <p:spTgt spid="59"/>
                                        </p:tgtEl>
                                        <p:attrNameLst>
                                          <p:attrName>ppt_x</p:attrName>
                                          <p:attrName>ppt_y</p:attrName>
                                        </p:attrNameLst>
                                      </p:cBhvr>
                                      <p:rCtr x="-781" y="0"/>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500"/>
                                        <p:tgtEl>
                                          <p:spTgt spid="36"/>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cTn>
                              </p:par>
                              <p:par>
                                <p:cTn id="33" presetID="10" presetClass="entr" presetSubtype="0" fill="hold" grpId="0" nodeType="withEffect">
                                  <p:stCondLst>
                                    <p:cond delay="100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500"/>
                                        <p:tgtEl>
                                          <p:spTgt spid="58"/>
                                        </p:tgtEl>
                                      </p:cBhvr>
                                    </p:animEffect>
                                  </p:childTnLst>
                                </p:cTn>
                              </p:par>
                              <p:par>
                                <p:cTn id="36" presetID="10" presetClass="entr" presetSubtype="0" fill="hold" grpId="0" nodeType="withEffect">
                                  <p:stCondLst>
                                    <p:cond delay="100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nodeType="withEffect">
                                  <p:stCondLst>
                                    <p:cond delay="100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500"/>
                                        <p:tgtEl>
                                          <p:spTgt spid="5"/>
                                        </p:tgtEl>
                                      </p:cBhvr>
                                    </p:animEffect>
                                  </p:childTnLst>
                                </p:cTn>
                              </p:par>
                              <p:par>
                                <p:cTn id="42" presetID="10" presetClass="entr" presetSubtype="0" fill="hold" nodeType="withEffect">
                                  <p:stCondLst>
                                    <p:cond delay="100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barn(inVertical)">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8" grpId="0" animBg="1"/>
      <p:bldP spid="18" grpId="0" animBg="1"/>
      <p:bldP spid="14" grpId="0" animBg="1"/>
      <p:bldP spid="2" grpId="0" animBg="1"/>
      <p:bldP spid="34" grpId="0" animBg="1"/>
      <p:bldP spid="16" grpId="0" animBg="1"/>
      <p:bldP spid="36" grpId="0" animBg="1"/>
      <p:bldP spid="5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BAD817-C107-F669-AC41-FDA1DDEEFEB2}"/>
              </a:ext>
            </a:extLst>
          </p:cNvPr>
          <p:cNvSpPr>
            <a:spLocks noGrp="1"/>
          </p:cNvSpPr>
          <p:nvPr>
            <p:ph type="sldNum" sz="quarter" idx="4294967295"/>
          </p:nvPr>
        </p:nvSpPr>
        <p:spPr>
          <a:xfrm>
            <a:off x="0" y="6311900"/>
            <a:ext cx="398463" cy="365125"/>
          </a:xfrm>
        </p:spPr>
        <p:txBody>
          <a:bodyPr/>
          <a:lstStyle/>
          <a:p>
            <a:fld id="{B1356FBF-028C-F74E-A7B4-9B8ED246DD1B}" type="slidenum">
              <a:rPr lang="en-US" smtClean="0"/>
              <a:pPr/>
              <a:t>13</a:t>
            </a:fld>
            <a:endParaRPr lang="en-US"/>
          </a:p>
        </p:txBody>
      </p:sp>
      <p:sp>
        <p:nvSpPr>
          <p:cNvPr id="3" name="Footer Placeholder 2">
            <a:extLst>
              <a:ext uri="{FF2B5EF4-FFF2-40B4-BE49-F238E27FC236}">
                <a16:creationId xmlns:a16="http://schemas.microsoft.com/office/drawing/2014/main" id="{13FC5B94-B7FB-A26F-F76F-D196DD5D04A1}"/>
              </a:ext>
            </a:extLst>
          </p:cNvPr>
          <p:cNvSpPr>
            <a:spLocks noGrp="1"/>
          </p:cNvSpPr>
          <p:nvPr>
            <p:ph type="ftr" sz="quarter" idx="4294967295"/>
          </p:nvPr>
        </p:nvSpPr>
        <p:spPr>
          <a:xfrm>
            <a:off x="0" y="6311900"/>
            <a:ext cx="2079625" cy="365125"/>
          </a:xfrm>
        </p:spPr>
        <p:txBody>
          <a:bodyPr/>
          <a:lstStyle/>
          <a:p>
            <a:r>
              <a:rPr lang="en-US"/>
              <a:t>Microsoft Purview</a:t>
            </a:r>
          </a:p>
        </p:txBody>
      </p:sp>
      <p:sp>
        <p:nvSpPr>
          <p:cNvPr id="4" name="TextBox 3">
            <a:extLst>
              <a:ext uri="{FF2B5EF4-FFF2-40B4-BE49-F238E27FC236}">
                <a16:creationId xmlns:a16="http://schemas.microsoft.com/office/drawing/2014/main" id="{03A09898-15C1-B268-5FDF-AF0AE8662ABC}"/>
              </a:ext>
            </a:extLst>
          </p:cNvPr>
          <p:cNvSpPr txBox="1"/>
          <p:nvPr/>
        </p:nvSpPr>
        <p:spPr>
          <a:xfrm>
            <a:off x="5818909" y="2806420"/>
            <a:ext cx="5992794" cy="1323439"/>
          </a:xfrm>
          <a:prstGeom prst="rect">
            <a:avLst/>
          </a:prstGeom>
          <a:noFill/>
        </p:spPr>
        <p:txBody>
          <a:bodyPr wrap="none" rtlCol="0">
            <a:spAutoFit/>
          </a:bodyPr>
          <a:lstStyle/>
          <a:p>
            <a:r>
              <a:rPr lang="en-US" sz="4000" dirty="0">
                <a:latin typeface="Segoe UI" panose="020B0502040204020203" pitchFamily="34" charset="0"/>
                <a:cs typeface="Segoe UI" panose="020B0502040204020203" pitchFamily="34" charset="0"/>
              </a:rPr>
              <a:t>Purview Data Governance</a:t>
            </a:r>
            <a:br>
              <a:rPr lang="en-US" sz="4000" dirty="0">
                <a:latin typeface="Segoe UI" panose="020B0502040204020203" pitchFamily="34" charset="0"/>
                <a:cs typeface="Segoe UI" panose="020B0502040204020203" pitchFamily="34" charset="0"/>
              </a:rPr>
            </a:br>
            <a:r>
              <a:rPr lang="en-US" sz="4000" dirty="0">
                <a:latin typeface="Segoe UI" panose="020B0502040204020203" pitchFamily="34" charset="0"/>
                <a:cs typeface="Segoe UI" panose="020B0502040204020203" pitchFamily="34" charset="0"/>
              </a:rPr>
              <a:t>“surroundings”</a:t>
            </a:r>
          </a:p>
        </p:txBody>
      </p:sp>
    </p:spTree>
    <p:extLst>
      <p:ext uri="{BB962C8B-B14F-4D97-AF65-F5344CB8AC3E}">
        <p14:creationId xmlns:p14="http://schemas.microsoft.com/office/powerpoint/2010/main" val="31277543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5CE8A-BC8F-DA3D-FC8C-CE6AF07A2752}"/>
              </a:ext>
            </a:extLst>
          </p:cNvPr>
          <p:cNvSpPr>
            <a:spLocks noGrp="1"/>
          </p:cNvSpPr>
          <p:nvPr>
            <p:ph type="title" idx="4294967295"/>
          </p:nvPr>
        </p:nvSpPr>
        <p:spPr>
          <a:xfrm>
            <a:off x="727613" y="365681"/>
            <a:ext cx="8716488" cy="828675"/>
          </a:xfrm>
        </p:spPr>
        <p:txBody>
          <a:bodyPr>
            <a:normAutofit/>
          </a:bodyPr>
          <a:lstStyle/>
          <a:p>
            <a:r>
              <a:rPr lang="en-US" dirty="0"/>
              <a:t>The </a:t>
            </a:r>
            <a:r>
              <a:rPr lang="en-US" u="sng" dirty="0"/>
              <a:t>Pillars</a:t>
            </a:r>
          </a:p>
        </p:txBody>
      </p:sp>
      <p:grpSp>
        <p:nvGrpSpPr>
          <p:cNvPr id="7" name="Group 6">
            <a:extLst>
              <a:ext uri="{FF2B5EF4-FFF2-40B4-BE49-F238E27FC236}">
                <a16:creationId xmlns:a16="http://schemas.microsoft.com/office/drawing/2014/main" id="{EE3738BE-8213-3EF8-5F8B-45F6B63A9B49}"/>
              </a:ext>
            </a:extLst>
          </p:cNvPr>
          <p:cNvGrpSpPr/>
          <p:nvPr/>
        </p:nvGrpSpPr>
        <p:grpSpPr>
          <a:xfrm>
            <a:off x="345445" y="2674319"/>
            <a:ext cx="1970903" cy="2801900"/>
            <a:chOff x="856084" y="3244334"/>
            <a:chExt cx="1970903" cy="2801900"/>
          </a:xfrm>
        </p:grpSpPr>
        <p:pic>
          <p:nvPicPr>
            <p:cNvPr id="4" name="Graphic 3" descr="Greek Pillar with solid fill">
              <a:extLst>
                <a:ext uri="{FF2B5EF4-FFF2-40B4-BE49-F238E27FC236}">
                  <a16:creationId xmlns:a16="http://schemas.microsoft.com/office/drawing/2014/main" id="{DEC8E9BE-FE10-A36B-F41C-6DC04666F0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5" name="TextBox 4">
              <a:extLst>
                <a:ext uri="{FF2B5EF4-FFF2-40B4-BE49-F238E27FC236}">
                  <a16:creationId xmlns:a16="http://schemas.microsoft.com/office/drawing/2014/main" id="{48449738-3758-89C8-00A8-90EAF215AF81}"/>
                </a:ext>
              </a:extLst>
            </p:cNvPr>
            <p:cNvSpPr txBox="1"/>
            <p:nvPr/>
          </p:nvSpPr>
          <p:spPr>
            <a:xfrm>
              <a:off x="923902" y="3244334"/>
              <a:ext cx="1903085" cy="369332"/>
            </a:xfrm>
            <a:prstGeom prst="rect">
              <a:avLst/>
            </a:prstGeom>
            <a:noFill/>
          </p:spPr>
          <p:txBody>
            <a:bodyPr wrap="none" rtlCol="0">
              <a:spAutoFit/>
            </a:bodyPr>
            <a:lstStyle/>
            <a:p>
              <a:r>
                <a:rPr lang="en-US" dirty="0"/>
                <a:t>Sensitivity Labels</a:t>
              </a:r>
            </a:p>
          </p:txBody>
        </p:sp>
        <p:sp>
          <p:nvSpPr>
            <p:cNvPr id="6" name="TextBox 5">
              <a:extLst>
                <a:ext uri="{FF2B5EF4-FFF2-40B4-BE49-F238E27FC236}">
                  <a16:creationId xmlns:a16="http://schemas.microsoft.com/office/drawing/2014/main" id="{02B5101D-5137-59E4-86BD-2E0F267101CF}"/>
                </a:ext>
              </a:extLst>
            </p:cNvPr>
            <p:cNvSpPr txBox="1"/>
            <p:nvPr/>
          </p:nvSpPr>
          <p:spPr>
            <a:xfrm>
              <a:off x="1041476" y="5399903"/>
              <a:ext cx="1600118" cy="646331"/>
            </a:xfrm>
            <a:prstGeom prst="rect">
              <a:avLst/>
            </a:prstGeom>
            <a:noFill/>
          </p:spPr>
          <p:txBody>
            <a:bodyPr wrap="none" rtlCol="0">
              <a:spAutoFit/>
            </a:bodyPr>
            <a:lstStyle/>
            <a:p>
              <a:pPr algn="ctr"/>
              <a:r>
                <a:rPr lang="en-US" dirty="0"/>
                <a:t>How can I use</a:t>
              </a:r>
              <a:br>
                <a:rPr lang="en-US" dirty="0"/>
              </a:br>
              <a:r>
                <a:rPr lang="en-US" dirty="0"/>
                <a:t>the data</a:t>
              </a:r>
            </a:p>
          </p:txBody>
        </p:sp>
      </p:grpSp>
      <p:grpSp>
        <p:nvGrpSpPr>
          <p:cNvPr id="8" name="Group 7">
            <a:extLst>
              <a:ext uri="{FF2B5EF4-FFF2-40B4-BE49-F238E27FC236}">
                <a16:creationId xmlns:a16="http://schemas.microsoft.com/office/drawing/2014/main" id="{0A587ECC-CAB8-A358-970F-73651079B0DB}"/>
              </a:ext>
            </a:extLst>
          </p:cNvPr>
          <p:cNvGrpSpPr/>
          <p:nvPr/>
        </p:nvGrpSpPr>
        <p:grpSpPr>
          <a:xfrm>
            <a:off x="2592394" y="2674319"/>
            <a:ext cx="1970903" cy="2794061"/>
            <a:chOff x="856084" y="3252173"/>
            <a:chExt cx="1970903" cy="2794061"/>
          </a:xfrm>
        </p:grpSpPr>
        <p:pic>
          <p:nvPicPr>
            <p:cNvPr id="9" name="Graphic 8" descr="Greek Pillar with solid fill">
              <a:extLst>
                <a:ext uri="{FF2B5EF4-FFF2-40B4-BE49-F238E27FC236}">
                  <a16:creationId xmlns:a16="http://schemas.microsoft.com/office/drawing/2014/main" id="{A4D367C4-56AE-82E8-3B0C-09254537CB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10" name="TextBox 9">
              <a:extLst>
                <a:ext uri="{FF2B5EF4-FFF2-40B4-BE49-F238E27FC236}">
                  <a16:creationId xmlns:a16="http://schemas.microsoft.com/office/drawing/2014/main" id="{15B66187-4956-74C4-6150-C8319A4F54A1}"/>
                </a:ext>
              </a:extLst>
            </p:cNvPr>
            <p:cNvSpPr txBox="1"/>
            <p:nvPr/>
          </p:nvSpPr>
          <p:spPr>
            <a:xfrm>
              <a:off x="1039873" y="3252173"/>
              <a:ext cx="1601721" cy="369332"/>
            </a:xfrm>
            <a:prstGeom prst="rect">
              <a:avLst/>
            </a:prstGeom>
            <a:noFill/>
          </p:spPr>
          <p:txBody>
            <a:bodyPr wrap="none" rtlCol="0">
              <a:spAutoFit/>
            </a:bodyPr>
            <a:lstStyle/>
            <a:p>
              <a:r>
                <a:rPr lang="en-US" dirty="0"/>
                <a:t>Classifications</a:t>
              </a:r>
            </a:p>
          </p:txBody>
        </p:sp>
        <p:sp>
          <p:nvSpPr>
            <p:cNvPr id="11" name="TextBox 10">
              <a:extLst>
                <a:ext uri="{FF2B5EF4-FFF2-40B4-BE49-F238E27FC236}">
                  <a16:creationId xmlns:a16="http://schemas.microsoft.com/office/drawing/2014/main" id="{9BA62744-4A17-C790-90DC-2A6DD0574CC6}"/>
                </a:ext>
              </a:extLst>
            </p:cNvPr>
            <p:cNvSpPr txBox="1"/>
            <p:nvPr/>
          </p:nvSpPr>
          <p:spPr>
            <a:xfrm>
              <a:off x="1007013" y="5399903"/>
              <a:ext cx="1669047" cy="646331"/>
            </a:xfrm>
            <a:prstGeom prst="rect">
              <a:avLst/>
            </a:prstGeom>
            <a:noFill/>
          </p:spPr>
          <p:txBody>
            <a:bodyPr wrap="none" rtlCol="0">
              <a:spAutoFit/>
            </a:bodyPr>
            <a:lstStyle/>
            <a:p>
              <a:pPr algn="ctr"/>
              <a:r>
                <a:rPr lang="en-US" dirty="0"/>
                <a:t>What does the</a:t>
              </a:r>
              <a:br>
                <a:rPr lang="en-US" dirty="0"/>
              </a:br>
              <a:r>
                <a:rPr lang="en-US" dirty="0"/>
                <a:t>data contain</a:t>
              </a:r>
            </a:p>
          </p:txBody>
        </p:sp>
      </p:grpSp>
      <p:grpSp>
        <p:nvGrpSpPr>
          <p:cNvPr id="13" name="Group 12">
            <a:extLst>
              <a:ext uri="{FF2B5EF4-FFF2-40B4-BE49-F238E27FC236}">
                <a16:creationId xmlns:a16="http://schemas.microsoft.com/office/drawing/2014/main" id="{AD7C803A-28CC-8E00-37BB-28F6D2A93AA5}"/>
              </a:ext>
            </a:extLst>
          </p:cNvPr>
          <p:cNvGrpSpPr/>
          <p:nvPr/>
        </p:nvGrpSpPr>
        <p:grpSpPr>
          <a:xfrm>
            <a:off x="4853647" y="2674319"/>
            <a:ext cx="1970903" cy="3057711"/>
            <a:chOff x="856084" y="3265522"/>
            <a:chExt cx="1970903" cy="3057711"/>
          </a:xfrm>
        </p:grpSpPr>
        <p:pic>
          <p:nvPicPr>
            <p:cNvPr id="14" name="Graphic 13" descr="Greek Pillar with solid fill">
              <a:extLst>
                <a:ext uri="{FF2B5EF4-FFF2-40B4-BE49-F238E27FC236}">
                  <a16:creationId xmlns:a16="http://schemas.microsoft.com/office/drawing/2014/main" id="{6DBB65BA-EA55-9D6D-ED93-C457830DEB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15" name="TextBox 14">
              <a:extLst>
                <a:ext uri="{FF2B5EF4-FFF2-40B4-BE49-F238E27FC236}">
                  <a16:creationId xmlns:a16="http://schemas.microsoft.com/office/drawing/2014/main" id="{0EC72BD0-847D-7669-8F3C-D5D2F01BDD41}"/>
                </a:ext>
              </a:extLst>
            </p:cNvPr>
            <p:cNvSpPr txBox="1"/>
            <p:nvPr/>
          </p:nvSpPr>
          <p:spPr>
            <a:xfrm>
              <a:off x="1275160" y="3265522"/>
              <a:ext cx="1119217" cy="369332"/>
            </a:xfrm>
            <a:prstGeom prst="rect">
              <a:avLst/>
            </a:prstGeom>
            <a:noFill/>
          </p:spPr>
          <p:txBody>
            <a:bodyPr wrap="none" rtlCol="0">
              <a:spAutoFit/>
            </a:bodyPr>
            <a:lstStyle/>
            <a:p>
              <a:r>
                <a:rPr lang="en-US" dirty="0"/>
                <a:t>Identities</a:t>
              </a:r>
            </a:p>
          </p:txBody>
        </p:sp>
        <p:sp>
          <p:nvSpPr>
            <p:cNvPr id="16" name="TextBox 15">
              <a:extLst>
                <a:ext uri="{FF2B5EF4-FFF2-40B4-BE49-F238E27FC236}">
                  <a16:creationId xmlns:a16="http://schemas.microsoft.com/office/drawing/2014/main" id="{3E7A106F-4945-DCF8-2B12-9FA436BD00CB}"/>
                </a:ext>
              </a:extLst>
            </p:cNvPr>
            <p:cNvSpPr txBox="1"/>
            <p:nvPr/>
          </p:nvSpPr>
          <p:spPr>
            <a:xfrm>
              <a:off x="897597" y="5399903"/>
              <a:ext cx="1887889" cy="923330"/>
            </a:xfrm>
            <a:prstGeom prst="rect">
              <a:avLst/>
            </a:prstGeom>
            <a:noFill/>
          </p:spPr>
          <p:txBody>
            <a:bodyPr wrap="none" rtlCol="0">
              <a:spAutoFit/>
            </a:bodyPr>
            <a:lstStyle/>
            <a:p>
              <a:pPr algn="ctr"/>
              <a:r>
                <a:rPr lang="en-US" dirty="0"/>
                <a:t>Who is it</a:t>
              </a:r>
              <a:br>
                <a:rPr lang="en-US" dirty="0"/>
              </a:br>
              <a:r>
                <a:rPr lang="en-US" dirty="0"/>
                <a:t>(Processes could </a:t>
              </a:r>
              <a:br>
                <a:rPr lang="en-US" dirty="0"/>
              </a:br>
              <a:r>
                <a:rPr lang="en-US" dirty="0"/>
                <a:t>have an identity)</a:t>
              </a:r>
            </a:p>
          </p:txBody>
        </p:sp>
      </p:grpSp>
      <p:grpSp>
        <p:nvGrpSpPr>
          <p:cNvPr id="17" name="Group 16">
            <a:extLst>
              <a:ext uri="{FF2B5EF4-FFF2-40B4-BE49-F238E27FC236}">
                <a16:creationId xmlns:a16="http://schemas.microsoft.com/office/drawing/2014/main" id="{956F2992-FD62-8620-87F6-39E9CF97DF8F}"/>
              </a:ext>
            </a:extLst>
          </p:cNvPr>
          <p:cNvGrpSpPr/>
          <p:nvPr/>
        </p:nvGrpSpPr>
        <p:grpSpPr>
          <a:xfrm>
            <a:off x="7114912" y="2674319"/>
            <a:ext cx="1970903" cy="2780712"/>
            <a:chOff x="856084" y="3265522"/>
            <a:chExt cx="1970903" cy="2780712"/>
          </a:xfrm>
        </p:grpSpPr>
        <p:pic>
          <p:nvPicPr>
            <p:cNvPr id="18" name="Graphic 17" descr="Greek Pillar with solid fill">
              <a:extLst>
                <a:ext uri="{FF2B5EF4-FFF2-40B4-BE49-F238E27FC236}">
                  <a16:creationId xmlns:a16="http://schemas.microsoft.com/office/drawing/2014/main" id="{0FAF6E53-E4EC-4529-3996-A36CBA8DF21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19" name="TextBox 18">
              <a:extLst>
                <a:ext uri="{FF2B5EF4-FFF2-40B4-BE49-F238E27FC236}">
                  <a16:creationId xmlns:a16="http://schemas.microsoft.com/office/drawing/2014/main" id="{8298B1D6-7111-0B3E-8524-B9F21B597CB2}"/>
                </a:ext>
              </a:extLst>
            </p:cNvPr>
            <p:cNvSpPr txBox="1"/>
            <p:nvPr/>
          </p:nvSpPr>
          <p:spPr>
            <a:xfrm>
              <a:off x="1207387" y="3265522"/>
              <a:ext cx="1268296" cy="369332"/>
            </a:xfrm>
            <a:prstGeom prst="rect">
              <a:avLst/>
            </a:prstGeom>
            <a:noFill/>
          </p:spPr>
          <p:txBody>
            <a:bodyPr wrap="none" rtlCol="0">
              <a:spAutoFit/>
            </a:bodyPr>
            <a:lstStyle/>
            <a:p>
              <a:r>
                <a:rPr lang="en-US" dirty="0"/>
                <a:t>The device</a:t>
              </a:r>
            </a:p>
          </p:txBody>
        </p:sp>
        <p:sp>
          <p:nvSpPr>
            <p:cNvPr id="20" name="TextBox 19">
              <a:extLst>
                <a:ext uri="{FF2B5EF4-FFF2-40B4-BE49-F238E27FC236}">
                  <a16:creationId xmlns:a16="http://schemas.microsoft.com/office/drawing/2014/main" id="{64D28AD3-E29E-0C61-3BF2-B8D5820823D7}"/>
                </a:ext>
              </a:extLst>
            </p:cNvPr>
            <p:cNvSpPr txBox="1"/>
            <p:nvPr/>
          </p:nvSpPr>
          <p:spPr>
            <a:xfrm>
              <a:off x="1037478" y="5399903"/>
              <a:ext cx="1608133" cy="646331"/>
            </a:xfrm>
            <a:prstGeom prst="rect">
              <a:avLst/>
            </a:prstGeom>
            <a:noFill/>
          </p:spPr>
          <p:txBody>
            <a:bodyPr wrap="none" rtlCol="0">
              <a:spAutoFit/>
            </a:bodyPr>
            <a:lstStyle/>
            <a:p>
              <a:pPr algn="ctr"/>
              <a:r>
                <a:rPr lang="en-US" dirty="0"/>
                <a:t>The device</a:t>
              </a:r>
              <a:br>
                <a:rPr lang="en-US" dirty="0"/>
              </a:br>
              <a:r>
                <a:rPr lang="en-US" dirty="0"/>
                <a:t>to be enrolled</a:t>
              </a:r>
            </a:p>
          </p:txBody>
        </p:sp>
      </p:grpSp>
      <p:grpSp>
        <p:nvGrpSpPr>
          <p:cNvPr id="21" name="Group 20">
            <a:extLst>
              <a:ext uri="{FF2B5EF4-FFF2-40B4-BE49-F238E27FC236}">
                <a16:creationId xmlns:a16="http://schemas.microsoft.com/office/drawing/2014/main" id="{A3D57CFC-92F2-F9DE-3C59-60F86308AD1D}"/>
              </a:ext>
            </a:extLst>
          </p:cNvPr>
          <p:cNvGrpSpPr/>
          <p:nvPr/>
        </p:nvGrpSpPr>
        <p:grpSpPr>
          <a:xfrm>
            <a:off x="9361862" y="2674319"/>
            <a:ext cx="1970903" cy="2780712"/>
            <a:chOff x="856084" y="3265522"/>
            <a:chExt cx="1970903" cy="2780712"/>
          </a:xfrm>
        </p:grpSpPr>
        <p:pic>
          <p:nvPicPr>
            <p:cNvPr id="22" name="Graphic 21" descr="Greek Pillar with solid fill">
              <a:extLst>
                <a:ext uri="{FF2B5EF4-FFF2-40B4-BE49-F238E27FC236}">
                  <a16:creationId xmlns:a16="http://schemas.microsoft.com/office/drawing/2014/main" id="{E2BFD5E9-797C-C996-B7CA-6A2F6B5A0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6084" y="3429000"/>
              <a:ext cx="1970903" cy="1970903"/>
            </a:xfrm>
            <a:prstGeom prst="rect">
              <a:avLst/>
            </a:prstGeom>
          </p:spPr>
        </p:pic>
        <p:sp>
          <p:nvSpPr>
            <p:cNvPr id="23" name="TextBox 22">
              <a:extLst>
                <a:ext uri="{FF2B5EF4-FFF2-40B4-BE49-F238E27FC236}">
                  <a16:creationId xmlns:a16="http://schemas.microsoft.com/office/drawing/2014/main" id="{CAEEAAA4-C9AD-B469-AAAB-63253605407D}"/>
                </a:ext>
              </a:extLst>
            </p:cNvPr>
            <p:cNvSpPr txBox="1"/>
            <p:nvPr/>
          </p:nvSpPr>
          <p:spPr>
            <a:xfrm>
              <a:off x="1207387" y="3265522"/>
              <a:ext cx="1199367" cy="369332"/>
            </a:xfrm>
            <a:prstGeom prst="rect">
              <a:avLst/>
            </a:prstGeom>
            <a:noFill/>
          </p:spPr>
          <p:txBody>
            <a:bodyPr wrap="none" rtlCol="0">
              <a:spAutoFit/>
            </a:bodyPr>
            <a:lstStyle/>
            <a:p>
              <a:r>
                <a:rPr lang="en-US" dirty="0"/>
                <a:t>The agent</a:t>
              </a:r>
            </a:p>
          </p:txBody>
        </p:sp>
        <p:sp>
          <p:nvSpPr>
            <p:cNvPr id="24" name="TextBox 23">
              <a:extLst>
                <a:ext uri="{FF2B5EF4-FFF2-40B4-BE49-F238E27FC236}">
                  <a16:creationId xmlns:a16="http://schemas.microsoft.com/office/drawing/2014/main" id="{F81BFB6C-6F4B-993B-04A9-CA9A3746482A}"/>
                </a:ext>
              </a:extLst>
            </p:cNvPr>
            <p:cNvSpPr txBox="1"/>
            <p:nvPr/>
          </p:nvSpPr>
          <p:spPr>
            <a:xfrm>
              <a:off x="1267510" y="5399903"/>
              <a:ext cx="1148071" cy="646331"/>
            </a:xfrm>
            <a:prstGeom prst="rect">
              <a:avLst/>
            </a:prstGeom>
            <a:noFill/>
          </p:spPr>
          <p:txBody>
            <a:bodyPr wrap="none" rtlCol="0">
              <a:spAutoFit/>
            </a:bodyPr>
            <a:lstStyle/>
            <a:p>
              <a:pPr algn="ctr"/>
              <a:r>
                <a:rPr lang="en-US" dirty="0" err="1"/>
                <a:t>Promting</a:t>
              </a:r>
              <a:br>
                <a:rPr lang="en-US" dirty="0"/>
              </a:br>
              <a:r>
                <a:rPr lang="en-US" dirty="0"/>
                <a:t>(Co-Pilot)</a:t>
              </a:r>
            </a:p>
          </p:txBody>
        </p:sp>
      </p:grpSp>
      <p:sp>
        <p:nvSpPr>
          <p:cNvPr id="25" name="TextBox 24">
            <a:extLst>
              <a:ext uri="{FF2B5EF4-FFF2-40B4-BE49-F238E27FC236}">
                <a16:creationId xmlns:a16="http://schemas.microsoft.com/office/drawing/2014/main" id="{0650A05C-C73D-6FF3-1224-F4145C4AEB94}"/>
              </a:ext>
            </a:extLst>
          </p:cNvPr>
          <p:cNvSpPr txBox="1"/>
          <p:nvPr/>
        </p:nvSpPr>
        <p:spPr>
          <a:xfrm>
            <a:off x="1898004" y="1464664"/>
            <a:ext cx="7868653" cy="369332"/>
          </a:xfrm>
          <a:prstGeom prst="rect">
            <a:avLst/>
          </a:prstGeom>
          <a:noFill/>
        </p:spPr>
        <p:txBody>
          <a:bodyPr wrap="square" rtlCol="0">
            <a:spAutoFit/>
          </a:bodyPr>
          <a:lstStyle/>
          <a:p>
            <a:pPr algn="ctr"/>
            <a:r>
              <a:rPr lang="en-US" dirty="0"/>
              <a:t>Can be used to determine the access at given point in time (policies)</a:t>
            </a:r>
          </a:p>
        </p:txBody>
      </p:sp>
    </p:spTree>
    <p:extLst>
      <p:ext uri="{BB962C8B-B14F-4D97-AF65-F5344CB8AC3E}">
        <p14:creationId xmlns:p14="http://schemas.microsoft.com/office/powerpoint/2010/main" val="288678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E4C90-B691-EFA0-31B4-047912AC12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EEFF75-FBFB-4DD2-7256-BC06FC45D6F6}"/>
              </a:ext>
            </a:extLst>
          </p:cNvPr>
          <p:cNvSpPr>
            <a:spLocks noGrp="1"/>
          </p:cNvSpPr>
          <p:nvPr>
            <p:ph type="title" idx="4294967295"/>
          </p:nvPr>
        </p:nvSpPr>
        <p:spPr>
          <a:xfrm>
            <a:off x="737480" y="362687"/>
            <a:ext cx="5114231" cy="828675"/>
          </a:xfrm>
        </p:spPr>
        <p:txBody>
          <a:bodyPr>
            <a:normAutofit/>
          </a:bodyPr>
          <a:lstStyle/>
          <a:p>
            <a:r>
              <a:rPr lang="en-US" dirty="0"/>
              <a:t>The “Workflow”</a:t>
            </a:r>
          </a:p>
        </p:txBody>
      </p:sp>
      <p:pic>
        <p:nvPicPr>
          <p:cNvPr id="29" name="Graphic 28" descr="Programmer male outline">
            <a:extLst>
              <a:ext uri="{FF2B5EF4-FFF2-40B4-BE49-F238E27FC236}">
                <a16:creationId xmlns:a16="http://schemas.microsoft.com/office/drawing/2014/main" id="{66E49CA4-2610-C7A1-B016-1AD846CCC8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5307" y="3429000"/>
            <a:ext cx="914400" cy="914400"/>
          </a:xfrm>
          <a:prstGeom prst="rect">
            <a:avLst/>
          </a:prstGeom>
        </p:spPr>
      </p:pic>
      <p:grpSp>
        <p:nvGrpSpPr>
          <p:cNvPr id="43" name="Group 42">
            <a:extLst>
              <a:ext uri="{FF2B5EF4-FFF2-40B4-BE49-F238E27FC236}">
                <a16:creationId xmlns:a16="http://schemas.microsoft.com/office/drawing/2014/main" id="{2FE5A214-178C-E3C0-CDFE-2C7DC50A1C92}"/>
              </a:ext>
            </a:extLst>
          </p:cNvPr>
          <p:cNvGrpSpPr/>
          <p:nvPr/>
        </p:nvGrpSpPr>
        <p:grpSpPr>
          <a:xfrm>
            <a:off x="2244091" y="1756622"/>
            <a:ext cx="1268296" cy="1110112"/>
            <a:chOff x="2626056" y="2127012"/>
            <a:chExt cx="1268296" cy="1110112"/>
          </a:xfrm>
        </p:grpSpPr>
        <p:pic>
          <p:nvPicPr>
            <p:cNvPr id="12" name="Graphic 11" descr="Internet with solid fill">
              <a:extLst>
                <a:ext uri="{FF2B5EF4-FFF2-40B4-BE49-F238E27FC236}">
                  <a16:creationId xmlns:a16="http://schemas.microsoft.com/office/drawing/2014/main" id="{3C839806-9749-1DFF-650F-5D28C2E78E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03004" y="2322724"/>
              <a:ext cx="914400" cy="914400"/>
            </a:xfrm>
            <a:prstGeom prst="rect">
              <a:avLst/>
            </a:prstGeom>
          </p:spPr>
        </p:pic>
        <p:sp>
          <p:nvSpPr>
            <p:cNvPr id="34" name="TextBox 33">
              <a:extLst>
                <a:ext uri="{FF2B5EF4-FFF2-40B4-BE49-F238E27FC236}">
                  <a16:creationId xmlns:a16="http://schemas.microsoft.com/office/drawing/2014/main" id="{75F4940C-0B8C-3824-C226-97FCD286DAD0}"/>
                </a:ext>
              </a:extLst>
            </p:cNvPr>
            <p:cNvSpPr txBox="1"/>
            <p:nvPr/>
          </p:nvSpPr>
          <p:spPr>
            <a:xfrm>
              <a:off x="2626056" y="2127012"/>
              <a:ext cx="1268296" cy="369332"/>
            </a:xfrm>
            <a:prstGeom prst="rect">
              <a:avLst/>
            </a:prstGeom>
            <a:noFill/>
          </p:spPr>
          <p:txBody>
            <a:bodyPr wrap="none" rtlCol="0">
              <a:spAutoFit/>
            </a:bodyPr>
            <a:lstStyle/>
            <a:p>
              <a:r>
                <a:rPr lang="en-US" dirty="0"/>
                <a:t>The device</a:t>
              </a:r>
            </a:p>
          </p:txBody>
        </p:sp>
      </p:grpSp>
      <p:grpSp>
        <p:nvGrpSpPr>
          <p:cNvPr id="42" name="Group 41">
            <a:extLst>
              <a:ext uri="{FF2B5EF4-FFF2-40B4-BE49-F238E27FC236}">
                <a16:creationId xmlns:a16="http://schemas.microsoft.com/office/drawing/2014/main" id="{54E275AB-AF48-F410-A5DF-5155BB074E1C}"/>
              </a:ext>
            </a:extLst>
          </p:cNvPr>
          <p:cNvGrpSpPr/>
          <p:nvPr/>
        </p:nvGrpSpPr>
        <p:grpSpPr>
          <a:xfrm>
            <a:off x="2156668" y="4732047"/>
            <a:ext cx="1463862" cy="1455903"/>
            <a:chOff x="2564326" y="4343400"/>
            <a:chExt cx="1463862" cy="1455903"/>
          </a:xfrm>
        </p:grpSpPr>
        <p:pic>
          <p:nvPicPr>
            <p:cNvPr id="33" name="Graphic 32" descr="Male profile outline">
              <a:extLst>
                <a:ext uri="{FF2B5EF4-FFF2-40B4-BE49-F238E27FC236}">
                  <a16:creationId xmlns:a16="http://schemas.microsoft.com/office/drawing/2014/main" id="{AEA3017D-EDCF-AEDA-C25F-BE3EE7005C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3004" y="4343400"/>
              <a:ext cx="914400" cy="914400"/>
            </a:xfrm>
            <a:prstGeom prst="rect">
              <a:avLst/>
            </a:prstGeom>
          </p:spPr>
        </p:pic>
        <p:sp>
          <p:nvSpPr>
            <p:cNvPr id="35" name="TextBox 34">
              <a:extLst>
                <a:ext uri="{FF2B5EF4-FFF2-40B4-BE49-F238E27FC236}">
                  <a16:creationId xmlns:a16="http://schemas.microsoft.com/office/drawing/2014/main" id="{9BCCD9E2-D2C4-9D2B-16C4-10A3E990E506}"/>
                </a:ext>
              </a:extLst>
            </p:cNvPr>
            <p:cNvSpPr txBox="1"/>
            <p:nvPr/>
          </p:nvSpPr>
          <p:spPr>
            <a:xfrm>
              <a:off x="2564326" y="5260694"/>
              <a:ext cx="1463862" cy="538609"/>
            </a:xfrm>
            <a:prstGeom prst="rect">
              <a:avLst/>
            </a:prstGeom>
            <a:noFill/>
          </p:spPr>
          <p:txBody>
            <a:bodyPr wrap="none" rtlCol="0">
              <a:spAutoFit/>
            </a:bodyPr>
            <a:lstStyle/>
            <a:p>
              <a:r>
                <a:rPr lang="en-US" dirty="0"/>
                <a:t>The identity</a:t>
              </a:r>
            </a:p>
            <a:p>
              <a:r>
                <a:rPr lang="en-US" sz="1100" dirty="0"/>
                <a:t>(managed </a:t>
              </a:r>
              <a:r>
                <a:rPr lang="en-US" sz="1100" dirty="0" err="1"/>
                <a:t>indetities</a:t>
              </a:r>
              <a:r>
                <a:rPr lang="en-US" sz="1100" dirty="0"/>
                <a:t>)</a:t>
              </a:r>
            </a:p>
          </p:txBody>
        </p:sp>
      </p:grpSp>
      <p:grpSp>
        <p:nvGrpSpPr>
          <p:cNvPr id="45" name="Group 44">
            <a:extLst>
              <a:ext uri="{FF2B5EF4-FFF2-40B4-BE49-F238E27FC236}">
                <a16:creationId xmlns:a16="http://schemas.microsoft.com/office/drawing/2014/main" id="{8E7F9F9E-F8B0-03C4-6B75-BB3B74E77F99}"/>
              </a:ext>
            </a:extLst>
          </p:cNvPr>
          <p:cNvGrpSpPr/>
          <p:nvPr/>
        </p:nvGrpSpPr>
        <p:grpSpPr>
          <a:xfrm>
            <a:off x="3112768" y="3320813"/>
            <a:ext cx="1497718" cy="1133668"/>
            <a:chOff x="3325067" y="3209732"/>
            <a:chExt cx="1497718" cy="1133668"/>
          </a:xfrm>
        </p:grpSpPr>
        <p:pic>
          <p:nvPicPr>
            <p:cNvPr id="41" name="Graphic 40" descr="Web design with solid fill">
              <a:extLst>
                <a:ext uri="{FF2B5EF4-FFF2-40B4-BE49-F238E27FC236}">
                  <a16:creationId xmlns:a16="http://schemas.microsoft.com/office/drawing/2014/main" id="{BCBD4F3B-4F31-23DC-586B-B0883E4079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16726" y="3429000"/>
              <a:ext cx="914400" cy="914400"/>
            </a:xfrm>
            <a:prstGeom prst="rect">
              <a:avLst/>
            </a:prstGeom>
          </p:spPr>
        </p:pic>
        <p:sp>
          <p:nvSpPr>
            <p:cNvPr id="44" name="TextBox 43">
              <a:extLst>
                <a:ext uri="{FF2B5EF4-FFF2-40B4-BE49-F238E27FC236}">
                  <a16:creationId xmlns:a16="http://schemas.microsoft.com/office/drawing/2014/main" id="{08C9DEBA-6DDC-DBB6-2684-B45BDA744407}"/>
                </a:ext>
              </a:extLst>
            </p:cNvPr>
            <p:cNvSpPr txBox="1"/>
            <p:nvPr/>
          </p:nvSpPr>
          <p:spPr>
            <a:xfrm>
              <a:off x="3325067" y="3209732"/>
              <a:ext cx="1497718" cy="369332"/>
            </a:xfrm>
            <a:prstGeom prst="rect">
              <a:avLst/>
            </a:prstGeom>
            <a:noFill/>
          </p:spPr>
          <p:txBody>
            <a:bodyPr wrap="none" rtlCol="0">
              <a:spAutoFit/>
            </a:bodyPr>
            <a:lstStyle/>
            <a:p>
              <a:r>
                <a:rPr lang="en-US" dirty="0"/>
                <a:t>The program</a:t>
              </a:r>
            </a:p>
          </p:txBody>
        </p:sp>
      </p:grpSp>
      <p:sp>
        <p:nvSpPr>
          <p:cNvPr id="46" name="Up Arrow 45">
            <a:extLst>
              <a:ext uri="{FF2B5EF4-FFF2-40B4-BE49-F238E27FC236}">
                <a16:creationId xmlns:a16="http://schemas.microsoft.com/office/drawing/2014/main" id="{55C1F9F7-F09A-3B37-A524-C60164FD7393}"/>
              </a:ext>
            </a:extLst>
          </p:cNvPr>
          <p:cNvSpPr/>
          <p:nvPr/>
        </p:nvSpPr>
        <p:spPr>
          <a:xfrm rot="3178338">
            <a:off x="2035133" y="2469719"/>
            <a:ext cx="254643" cy="1601094"/>
          </a:xfrm>
          <a:prstGeom prst="upArrow">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Up Arrow 46">
            <a:extLst>
              <a:ext uri="{FF2B5EF4-FFF2-40B4-BE49-F238E27FC236}">
                <a16:creationId xmlns:a16="http://schemas.microsoft.com/office/drawing/2014/main" id="{4994714E-6771-DBE6-1C53-79543D098720}"/>
              </a:ext>
            </a:extLst>
          </p:cNvPr>
          <p:cNvSpPr/>
          <p:nvPr/>
        </p:nvSpPr>
        <p:spPr>
          <a:xfrm rot="5400000">
            <a:off x="2407570" y="3237835"/>
            <a:ext cx="254643" cy="1601094"/>
          </a:xfrm>
          <a:prstGeom prst="upArrow">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Up Arrow 47">
            <a:extLst>
              <a:ext uri="{FF2B5EF4-FFF2-40B4-BE49-F238E27FC236}">
                <a16:creationId xmlns:a16="http://schemas.microsoft.com/office/drawing/2014/main" id="{73EFAC97-AA0C-40FC-7B2B-DCCACB070C28}"/>
              </a:ext>
            </a:extLst>
          </p:cNvPr>
          <p:cNvSpPr/>
          <p:nvPr/>
        </p:nvSpPr>
        <p:spPr>
          <a:xfrm rot="7793651">
            <a:off x="1890882" y="4097567"/>
            <a:ext cx="275208" cy="1253361"/>
          </a:xfrm>
          <a:prstGeom prst="upArrow">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6FF3923B-C538-546B-470E-F8D68015F092}"/>
              </a:ext>
            </a:extLst>
          </p:cNvPr>
          <p:cNvGrpSpPr/>
          <p:nvPr/>
        </p:nvGrpSpPr>
        <p:grpSpPr>
          <a:xfrm>
            <a:off x="8812951" y="4642447"/>
            <a:ext cx="1560235" cy="1178619"/>
            <a:chOff x="7517532" y="4476509"/>
            <a:chExt cx="1560235" cy="1178619"/>
          </a:xfrm>
        </p:grpSpPr>
        <p:pic>
          <p:nvPicPr>
            <p:cNvPr id="39" name="Graphic 38" descr="Database with solid fill">
              <a:extLst>
                <a:ext uri="{FF2B5EF4-FFF2-40B4-BE49-F238E27FC236}">
                  <a16:creationId xmlns:a16="http://schemas.microsoft.com/office/drawing/2014/main" id="{F116D1EA-FF38-E0DF-CBE4-0AEB052EFEE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40450" y="4476509"/>
              <a:ext cx="914400" cy="914400"/>
            </a:xfrm>
            <a:prstGeom prst="rect">
              <a:avLst/>
            </a:prstGeom>
          </p:spPr>
        </p:pic>
        <p:sp>
          <p:nvSpPr>
            <p:cNvPr id="49" name="TextBox 48">
              <a:extLst>
                <a:ext uri="{FF2B5EF4-FFF2-40B4-BE49-F238E27FC236}">
                  <a16:creationId xmlns:a16="http://schemas.microsoft.com/office/drawing/2014/main" id="{C720108F-0CA3-BF2C-0D14-7E70A9FF27B6}"/>
                </a:ext>
              </a:extLst>
            </p:cNvPr>
            <p:cNvSpPr txBox="1"/>
            <p:nvPr/>
          </p:nvSpPr>
          <p:spPr>
            <a:xfrm>
              <a:off x="7517532" y="5285796"/>
              <a:ext cx="1560235" cy="369332"/>
            </a:xfrm>
            <a:prstGeom prst="rect">
              <a:avLst/>
            </a:prstGeom>
            <a:noFill/>
          </p:spPr>
          <p:txBody>
            <a:bodyPr wrap="none" rtlCol="0">
              <a:spAutoFit/>
            </a:bodyPr>
            <a:lstStyle/>
            <a:p>
              <a:r>
                <a:rPr lang="en-US" dirty="0"/>
                <a:t>The Database</a:t>
              </a:r>
            </a:p>
          </p:txBody>
        </p:sp>
      </p:grpSp>
      <p:grpSp>
        <p:nvGrpSpPr>
          <p:cNvPr id="54" name="Group 53">
            <a:extLst>
              <a:ext uri="{FF2B5EF4-FFF2-40B4-BE49-F238E27FC236}">
                <a16:creationId xmlns:a16="http://schemas.microsoft.com/office/drawing/2014/main" id="{5D1C00A0-2308-DBB1-E569-BD10C597DBB4}"/>
              </a:ext>
            </a:extLst>
          </p:cNvPr>
          <p:cNvGrpSpPr/>
          <p:nvPr/>
        </p:nvGrpSpPr>
        <p:grpSpPr>
          <a:xfrm>
            <a:off x="9088146" y="2177309"/>
            <a:ext cx="962123" cy="1214707"/>
            <a:chOff x="7792727" y="2011371"/>
            <a:chExt cx="962123" cy="1214707"/>
          </a:xfrm>
        </p:grpSpPr>
        <p:pic>
          <p:nvPicPr>
            <p:cNvPr id="37" name="Graphic 36" descr="Folder Search with solid fill">
              <a:extLst>
                <a:ext uri="{FF2B5EF4-FFF2-40B4-BE49-F238E27FC236}">
                  <a16:creationId xmlns:a16="http://schemas.microsoft.com/office/drawing/2014/main" id="{174E15F0-8641-A263-BEB3-F7DD7EAD325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40450" y="2311678"/>
              <a:ext cx="914400" cy="914400"/>
            </a:xfrm>
            <a:prstGeom prst="rect">
              <a:avLst/>
            </a:prstGeom>
          </p:spPr>
        </p:pic>
        <p:sp>
          <p:nvSpPr>
            <p:cNvPr id="50" name="TextBox 49">
              <a:extLst>
                <a:ext uri="{FF2B5EF4-FFF2-40B4-BE49-F238E27FC236}">
                  <a16:creationId xmlns:a16="http://schemas.microsoft.com/office/drawing/2014/main" id="{F2549C90-129F-7842-F20F-3D2C52DC1E01}"/>
                </a:ext>
              </a:extLst>
            </p:cNvPr>
            <p:cNvSpPr txBox="1"/>
            <p:nvPr/>
          </p:nvSpPr>
          <p:spPr>
            <a:xfrm>
              <a:off x="7792727" y="2011371"/>
              <a:ext cx="962123" cy="369332"/>
            </a:xfrm>
            <a:prstGeom prst="rect">
              <a:avLst/>
            </a:prstGeom>
            <a:noFill/>
          </p:spPr>
          <p:txBody>
            <a:bodyPr wrap="none" rtlCol="0">
              <a:spAutoFit/>
            </a:bodyPr>
            <a:lstStyle/>
            <a:p>
              <a:r>
                <a:rPr lang="en-US" dirty="0"/>
                <a:t>The File</a:t>
              </a:r>
            </a:p>
          </p:txBody>
        </p:sp>
      </p:grpSp>
      <p:grpSp>
        <p:nvGrpSpPr>
          <p:cNvPr id="58" name="Group 57">
            <a:extLst>
              <a:ext uri="{FF2B5EF4-FFF2-40B4-BE49-F238E27FC236}">
                <a16:creationId xmlns:a16="http://schemas.microsoft.com/office/drawing/2014/main" id="{F0587EAA-0D3F-82B5-7F5E-D89ECA7F388D}"/>
              </a:ext>
            </a:extLst>
          </p:cNvPr>
          <p:cNvGrpSpPr/>
          <p:nvPr/>
        </p:nvGrpSpPr>
        <p:grpSpPr>
          <a:xfrm>
            <a:off x="8007336" y="3285720"/>
            <a:ext cx="2415758" cy="1350568"/>
            <a:chOff x="6711917" y="3119782"/>
            <a:chExt cx="2415758" cy="1350568"/>
          </a:xfrm>
          <a:solidFill>
            <a:schemeClr val="bg2"/>
          </a:solidFill>
        </p:grpSpPr>
        <p:sp>
          <p:nvSpPr>
            <p:cNvPr id="55" name="Bent Arrow 54">
              <a:extLst>
                <a:ext uri="{FF2B5EF4-FFF2-40B4-BE49-F238E27FC236}">
                  <a16:creationId xmlns:a16="http://schemas.microsoft.com/office/drawing/2014/main" id="{B0E598E2-0A97-43D8-734F-ECF27BA2E099}"/>
                </a:ext>
              </a:extLst>
            </p:cNvPr>
            <p:cNvSpPr/>
            <p:nvPr/>
          </p:nvSpPr>
          <p:spPr>
            <a:xfrm flipH="1">
              <a:off x="6711918" y="3865018"/>
              <a:ext cx="1458844" cy="605332"/>
            </a:xfrm>
            <a:prstGeom prst="bentArrow">
              <a:avLst/>
            </a:prstGeom>
            <a:grp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6" name="Bent Arrow 55">
              <a:extLst>
                <a:ext uri="{FF2B5EF4-FFF2-40B4-BE49-F238E27FC236}">
                  <a16:creationId xmlns:a16="http://schemas.microsoft.com/office/drawing/2014/main" id="{AE5C6FF5-A1F3-090D-8A75-413C9699AA98}"/>
                </a:ext>
              </a:extLst>
            </p:cNvPr>
            <p:cNvSpPr/>
            <p:nvPr/>
          </p:nvSpPr>
          <p:spPr>
            <a:xfrm flipH="1" flipV="1">
              <a:off x="6711917" y="3119782"/>
              <a:ext cx="1458845" cy="611489"/>
            </a:xfrm>
            <a:prstGeom prst="bentArrow">
              <a:avLst/>
            </a:prstGeom>
            <a:grp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TextBox 56">
              <a:extLst>
                <a:ext uri="{FF2B5EF4-FFF2-40B4-BE49-F238E27FC236}">
                  <a16:creationId xmlns:a16="http://schemas.microsoft.com/office/drawing/2014/main" id="{A81F8A67-8015-A9BC-5A84-362106E9FFE1}"/>
                </a:ext>
              </a:extLst>
            </p:cNvPr>
            <p:cNvSpPr txBox="1"/>
            <p:nvPr/>
          </p:nvSpPr>
          <p:spPr>
            <a:xfrm>
              <a:off x="7419900" y="3632801"/>
              <a:ext cx="1707775" cy="369332"/>
            </a:xfrm>
            <a:prstGeom prst="rect">
              <a:avLst/>
            </a:prstGeom>
            <a:grpFill/>
            <a:ln>
              <a:solidFill>
                <a:schemeClr val="bg2"/>
              </a:solidFill>
            </a:ln>
          </p:spPr>
          <p:txBody>
            <a:bodyPr wrap="none" rtlCol="0">
              <a:spAutoFit/>
            </a:bodyPr>
            <a:lstStyle/>
            <a:p>
              <a:r>
                <a:rPr lang="en-US" dirty="0"/>
                <a:t>The movement</a:t>
              </a:r>
            </a:p>
          </p:txBody>
        </p:sp>
      </p:grpSp>
      <p:grpSp>
        <p:nvGrpSpPr>
          <p:cNvPr id="62" name="Group 61">
            <a:extLst>
              <a:ext uri="{FF2B5EF4-FFF2-40B4-BE49-F238E27FC236}">
                <a16:creationId xmlns:a16="http://schemas.microsoft.com/office/drawing/2014/main" id="{5FC4A55F-215A-FC19-33F1-6924D65D527A}"/>
              </a:ext>
            </a:extLst>
          </p:cNvPr>
          <p:cNvGrpSpPr/>
          <p:nvPr/>
        </p:nvGrpSpPr>
        <p:grpSpPr>
          <a:xfrm>
            <a:off x="5704068" y="3269631"/>
            <a:ext cx="1091966" cy="1184850"/>
            <a:chOff x="5844641" y="3235029"/>
            <a:chExt cx="1091966" cy="1184850"/>
          </a:xfrm>
        </p:grpSpPr>
        <p:pic>
          <p:nvPicPr>
            <p:cNvPr id="60" name="Graphic 59" descr="Bar chart with solid fill">
              <a:extLst>
                <a:ext uri="{FF2B5EF4-FFF2-40B4-BE49-F238E27FC236}">
                  <a16:creationId xmlns:a16="http://schemas.microsoft.com/office/drawing/2014/main" id="{0B4E02E6-1AD2-EBEB-63E1-BED89DFD248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92284" y="3505479"/>
              <a:ext cx="914400" cy="914400"/>
            </a:xfrm>
            <a:prstGeom prst="rect">
              <a:avLst/>
            </a:prstGeom>
          </p:spPr>
        </p:pic>
        <p:sp>
          <p:nvSpPr>
            <p:cNvPr id="61" name="TextBox 60">
              <a:extLst>
                <a:ext uri="{FF2B5EF4-FFF2-40B4-BE49-F238E27FC236}">
                  <a16:creationId xmlns:a16="http://schemas.microsoft.com/office/drawing/2014/main" id="{C3ED9286-77BC-FE3D-4A58-61001392BAC3}"/>
                </a:ext>
              </a:extLst>
            </p:cNvPr>
            <p:cNvSpPr txBox="1"/>
            <p:nvPr/>
          </p:nvSpPr>
          <p:spPr>
            <a:xfrm>
              <a:off x="5844641" y="3235029"/>
              <a:ext cx="1091966" cy="369332"/>
            </a:xfrm>
            <a:prstGeom prst="rect">
              <a:avLst/>
            </a:prstGeom>
            <a:noFill/>
          </p:spPr>
          <p:txBody>
            <a:bodyPr wrap="none" rtlCol="0">
              <a:spAutoFit/>
            </a:bodyPr>
            <a:lstStyle/>
            <a:p>
              <a:r>
                <a:rPr lang="en-US" dirty="0"/>
                <a:t>The Data</a:t>
              </a:r>
            </a:p>
          </p:txBody>
        </p:sp>
      </p:grpSp>
      <p:sp>
        <p:nvSpPr>
          <p:cNvPr id="63" name="Rounded Rectangular Callout 62">
            <a:extLst>
              <a:ext uri="{FF2B5EF4-FFF2-40B4-BE49-F238E27FC236}">
                <a16:creationId xmlns:a16="http://schemas.microsoft.com/office/drawing/2014/main" id="{96F8F779-3D9C-C95A-4842-6E03578F17C1}"/>
              </a:ext>
            </a:extLst>
          </p:cNvPr>
          <p:cNvSpPr/>
          <p:nvPr/>
        </p:nvSpPr>
        <p:spPr>
          <a:xfrm>
            <a:off x="3861627" y="1511590"/>
            <a:ext cx="2481300" cy="1115999"/>
          </a:xfrm>
          <a:prstGeom prst="wedgeRoundRectCallout">
            <a:avLst>
              <a:gd name="adj1" fmla="val -74965"/>
              <a:gd name="adj2" fmla="val 28305"/>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ich resources can the device use ?</a:t>
            </a:r>
            <a:br>
              <a:rPr lang="en-US" dirty="0"/>
            </a:br>
            <a:r>
              <a:rPr lang="en-US" dirty="0"/>
              <a:t>Storage/Network</a:t>
            </a:r>
          </a:p>
        </p:txBody>
      </p:sp>
      <p:sp>
        <p:nvSpPr>
          <p:cNvPr id="64" name="Rounded Rectangular Callout 63">
            <a:extLst>
              <a:ext uri="{FF2B5EF4-FFF2-40B4-BE49-F238E27FC236}">
                <a16:creationId xmlns:a16="http://schemas.microsoft.com/office/drawing/2014/main" id="{171978EE-EDEE-FDF4-4A52-B8A5D9641D05}"/>
              </a:ext>
            </a:extLst>
          </p:cNvPr>
          <p:cNvSpPr/>
          <p:nvPr/>
        </p:nvSpPr>
        <p:spPr>
          <a:xfrm>
            <a:off x="5173943" y="5344906"/>
            <a:ext cx="3244181" cy="914401"/>
          </a:xfrm>
          <a:prstGeom prst="wedgeRoundRectCallout">
            <a:avLst>
              <a:gd name="adj1" fmla="val -17468"/>
              <a:gd name="adj2" fmla="val -169898"/>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at data can I work with ? </a:t>
            </a:r>
            <a:r>
              <a:rPr lang="en-US" dirty="0" err="1"/>
              <a:t>Jobprofile</a:t>
            </a:r>
            <a:r>
              <a:rPr lang="en-US" dirty="0"/>
              <a:t>/organization</a:t>
            </a:r>
          </a:p>
        </p:txBody>
      </p:sp>
      <p:sp>
        <p:nvSpPr>
          <p:cNvPr id="65" name="Rounded Rectangular Callout 64">
            <a:extLst>
              <a:ext uri="{FF2B5EF4-FFF2-40B4-BE49-F238E27FC236}">
                <a16:creationId xmlns:a16="http://schemas.microsoft.com/office/drawing/2014/main" id="{9FA8A913-805C-3BB8-C45F-FAC6FF922C95}"/>
              </a:ext>
            </a:extLst>
          </p:cNvPr>
          <p:cNvSpPr/>
          <p:nvPr/>
        </p:nvSpPr>
        <p:spPr>
          <a:xfrm>
            <a:off x="5167539" y="3466797"/>
            <a:ext cx="3326229" cy="1115999"/>
          </a:xfrm>
          <a:prstGeom prst="wedgeRoundRectCallout">
            <a:avLst>
              <a:gd name="adj1" fmla="val -77764"/>
              <a:gd name="adj2" fmla="val -11671"/>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ich programs may I use ? </a:t>
            </a:r>
            <a:br>
              <a:rPr lang="en-US" dirty="0"/>
            </a:br>
            <a:r>
              <a:rPr lang="en-US" dirty="0"/>
              <a:t>Software management / licensing</a:t>
            </a:r>
          </a:p>
        </p:txBody>
      </p:sp>
      <p:sp>
        <p:nvSpPr>
          <p:cNvPr id="66" name="Rounded Rectangular Callout 65">
            <a:extLst>
              <a:ext uri="{FF2B5EF4-FFF2-40B4-BE49-F238E27FC236}">
                <a16:creationId xmlns:a16="http://schemas.microsoft.com/office/drawing/2014/main" id="{0D79BFC3-615C-9C05-DDFC-2B74110AF1D5}"/>
              </a:ext>
            </a:extLst>
          </p:cNvPr>
          <p:cNvSpPr/>
          <p:nvPr/>
        </p:nvSpPr>
        <p:spPr>
          <a:xfrm>
            <a:off x="9277363" y="854412"/>
            <a:ext cx="2914637" cy="1115999"/>
          </a:xfrm>
          <a:prstGeom prst="wedgeRoundRectCallout">
            <a:avLst>
              <a:gd name="adj1" fmla="val -38580"/>
              <a:gd name="adj2" fmla="val 111278"/>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ere can I store files ?</a:t>
            </a:r>
            <a:br>
              <a:rPr lang="en-US" dirty="0"/>
            </a:br>
            <a:r>
              <a:rPr lang="en-US" dirty="0"/>
              <a:t>OneDrive / USB / Local</a:t>
            </a:r>
          </a:p>
        </p:txBody>
      </p:sp>
      <p:sp>
        <p:nvSpPr>
          <p:cNvPr id="67" name="Rounded Rectangular Callout 66">
            <a:extLst>
              <a:ext uri="{FF2B5EF4-FFF2-40B4-BE49-F238E27FC236}">
                <a16:creationId xmlns:a16="http://schemas.microsoft.com/office/drawing/2014/main" id="{845655A8-E1C0-F220-F305-288E46818916}"/>
              </a:ext>
            </a:extLst>
          </p:cNvPr>
          <p:cNvSpPr/>
          <p:nvPr/>
        </p:nvSpPr>
        <p:spPr>
          <a:xfrm>
            <a:off x="9135869" y="5473223"/>
            <a:ext cx="2914637" cy="1115999"/>
          </a:xfrm>
          <a:prstGeom prst="wedgeRoundRectCallout">
            <a:avLst>
              <a:gd name="adj1" fmla="val -27858"/>
              <a:gd name="adj2" fmla="val -95117"/>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ich databases can I access ?</a:t>
            </a:r>
            <a:br>
              <a:rPr lang="en-US" dirty="0"/>
            </a:br>
            <a:r>
              <a:rPr lang="en-US" dirty="0"/>
              <a:t>Connection / Row Level</a:t>
            </a:r>
          </a:p>
        </p:txBody>
      </p:sp>
      <p:sp>
        <p:nvSpPr>
          <p:cNvPr id="68" name="Rounded Rectangular Callout 67">
            <a:extLst>
              <a:ext uri="{FF2B5EF4-FFF2-40B4-BE49-F238E27FC236}">
                <a16:creationId xmlns:a16="http://schemas.microsoft.com/office/drawing/2014/main" id="{04C6BE41-14A3-A6BE-7E59-395FED64C17F}"/>
              </a:ext>
            </a:extLst>
          </p:cNvPr>
          <p:cNvSpPr/>
          <p:nvPr/>
        </p:nvSpPr>
        <p:spPr>
          <a:xfrm>
            <a:off x="3785221" y="5189246"/>
            <a:ext cx="3244181" cy="914401"/>
          </a:xfrm>
          <a:prstGeom prst="wedgeRoundRectCallout">
            <a:avLst>
              <a:gd name="adj1" fmla="val -67418"/>
              <a:gd name="adj2" fmla="val -21797"/>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ho am I ? </a:t>
            </a:r>
            <a:br>
              <a:rPr lang="en-US" dirty="0"/>
            </a:br>
            <a:r>
              <a:rPr lang="en-US" dirty="0"/>
              <a:t>Login / MFA / Groups</a:t>
            </a:r>
          </a:p>
        </p:txBody>
      </p:sp>
      <p:sp>
        <p:nvSpPr>
          <p:cNvPr id="69" name="Rounded Rectangular Callout 68">
            <a:extLst>
              <a:ext uri="{FF2B5EF4-FFF2-40B4-BE49-F238E27FC236}">
                <a16:creationId xmlns:a16="http://schemas.microsoft.com/office/drawing/2014/main" id="{41217BCC-C317-1714-E218-D51E63BF839E}"/>
              </a:ext>
            </a:extLst>
          </p:cNvPr>
          <p:cNvSpPr/>
          <p:nvPr/>
        </p:nvSpPr>
        <p:spPr>
          <a:xfrm>
            <a:off x="8340334" y="2396365"/>
            <a:ext cx="2914637" cy="1115999"/>
          </a:xfrm>
          <a:prstGeom prst="wedgeRoundRectCallout">
            <a:avLst>
              <a:gd name="adj1" fmla="val -35403"/>
              <a:gd name="adj2" fmla="val 91572"/>
              <a:gd name="adj3" fmla="val 16667"/>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How does the data move around ?</a:t>
            </a:r>
            <a:br>
              <a:rPr lang="en-US" dirty="0"/>
            </a:br>
            <a:r>
              <a:rPr lang="en-US" dirty="0"/>
              <a:t>Sharing / Mail / ETL</a:t>
            </a:r>
          </a:p>
        </p:txBody>
      </p:sp>
    </p:spTree>
    <p:extLst>
      <p:ext uri="{BB962C8B-B14F-4D97-AF65-F5344CB8AC3E}">
        <p14:creationId xmlns:p14="http://schemas.microsoft.com/office/powerpoint/2010/main" val="2818008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3" presetClass="exit" presetSubtype="10" fill="hold" grpId="1" nodeType="clickEffect">
                                  <p:stCondLst>
                                    <p:cond delay="0"/>
                                  </p:stCondLst>
                                  <p:childTnLst>
                                    <p:animEffect transition="out" filter="blinds(horizontal)">
                                      <p:cBhvr>
                                        <p:cTn id="34" dur="500"/>
                                        <p:tgtEl>
                                          <p:spTgt spid="68"/>
                                        </p:tgtEl>
                                      </p:cBhvr>
                                    </p:animEffect>
                                    <p:set>
                                      <p:cBhvr>
                                        <p:cTn id="35" dur="1" fill="hold">
                                          <p:stCondLst>
                                            <p:cond delay="499"/>
                                          </p:stCondLst>
                                        </p:cTn>
                                        <p:tgtEl>
                                          <p:spTgt spid="68"/>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6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3" presetClass="exit" presetSubtype="10" fill="hold" grpId="1" nodeType="clickEffect">
                                  <p:stCondLst>
                                    <p:cond delay="0"/>
                                  </p:stCondLst>
                                  <p:childTnLst>
                                    <p:animEffect transition="out" filter="blinds(horizontal)">
                                      <p:cBhvr>
                                        <p:cTn id="43" dur="500"/>
                                        <p:tgtEl>
                                          <p:spTgt spid="63"/>
                                        </p:tgtEl>
                                      </p:cBhvr>
                                    </p:animEffect>
                                    <p:set>
                                      <p:cBhvr>
                                        <p:cTn id="44" dur="1" fill="hold">
                                          <p:stCondLst>
                                            <p:cond delay="499"/>
                                          </p:stCondLst>
                                        </p:cTn>
                                        <p:tgtEl>
                                          <p:spTgt spid="63"/>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3" presetClass="exit" presetSubtype="10" fill="hold" grpId="1" nodeType="clickEffect">
                                  <p:stCondLst>
                                    <p:cond delay="0"/>
                                  </p:stCondLst>
                                  <p:childTnLst>
                                    <p:animEffect transition="out" filter="blinds(horizontal)">
                                      <p:cBhvr>
                                        <p:cTn id="52" dur="500"/>
                                        <p:tgtEl>
                                          <p:spTgt spid="65"/>
                                        </p:tgtEl>
                                      </p:cBhvr>
                                    </p:animEffect>
                                    <p:set>
                                      <p:cBhvr>
                                        <p:cTn id="53" dur="1" fill="hold">
                                          <p:stCondLst>
                                            <p:cond delay="499"/>
                                          </p:stCondLst>
                                        </p:cTn>
                                        <p:tgtEl>
                                          <p:spTgt spid="65"/>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54"/>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51"/>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66"/>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3" presetClass="exit" presetSubtype="10" fill="hold" grpId="1" nodeType="clickEffect">
                                  <p:stCondLst>
                                    <p:cond delay="0"/>
                                  </p:stCondLst>
                                  <p:childTnLst>
                                    <p:animEffect transition="out" filter="blinds(horizontal)">
                                      <p:cBhvr>
                                        <p:cTn id="69" dur="500"/>
                                        <p:tgtEl>
                                          <p:spTgt spid="66"/>
                                        </p:tgtEl>
                                      </p:cBhvr>
                                    </p:animEffect>
                                    <p:set>
                                      <p:cBhvr>
                                        <p:cTn id="70" dur="1" fill="hold">
                                          <p:stCondLst>
                                            <p:cond delay="499"/>
                                          </p:stCondLst>
                                        </p:cTn>
                                        <p:tgtEl>
                                          <p:spTgt spid="66"/>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7"/>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3" presetClass="exit" presetSubtype="10" fill="hold" grpId="1" nodeType="clickEffect">
                                  <p:stCondLst>
                                    <p:cond delay="0"/>
                                  </p:stCondLst>
                                  <p:childTnLst>
                                    <p:animEffect transition="out" filter="blinds(horizontal)">
                                      <p:cBhvr>
                                        <p:cTn id="78" dur="500"/>
                                        <p:tgtEl>
                                          <p:spTgt spid="67"/>
                                        </p:tgtEl>
                                      </p:cBhvr>
                                    </p:animEffect>
                                    <p:set>
                                      <p:cBhvr>
                                        <p:cTn id="79" dur="1" fill="hold">
                                          <p:stCondLst>
                                            <p:cond delay="499"/>
                                          </p:stCondLst>
                                        </p:cTn>
                                        <p:tgtEl>
                                          <p:spTgt spid="67"/>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nodeType="clickEffect">
                                  <p:stCondLst>
                                    <p:cond delay="0"/>
                                  </p:stCondLst>
                                  <p:childTnLst>
                                    <p:set>
                                      <p:cBhvr>
                                        <p:cTn id="83" dur="1" fill="hold">
                                          <p:stCondLst>
                                            <p:cond delay="0"/>
                                          </p:stCondLst>
                                        </p:cTn>
                                        <p:tgtEl>
                                          <p:spTgt spid="58"/>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69"/>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3" presetClass="exit" presetSubtype="10" fill="hold" grpId="1" nodeType="clickEffect">
                                  <p:stCondLst>
                                    <p:cond delay="0"/>
                                  </p:stCondLst>
                                  <p:childTnLst>
                                    <p:animEffect transition="out" filter="blinds(horizontal)">
                                      <p:cBhvr>
                                        <p:cTn id="91" dur="500"/>
                                        <p:tgtEl>
                                          <p:spTgt spid="69"/>
                                        </p:tgtEl>
                                      </p:cBhvr>
                                    </p:animEffect>
                                    <p:set>
                                      <p:cBhvr>
                                        <p:cTn id="92" dur="1" fill="hold">
                                          <p:stCondLst>
                                            <p:cond delay="499"/>
                                          </p:stCondLst>
                                        </p:cTn>
                                        <p:tgtEl>
                                          <p:spTgt spid="69"/>
                                        </p:tgtEl>
                                        <p:attrNameLst>
                                          <p:attrName>style.visibility</p:attrName>
                                        </p:attrNameLst>
                                      </p:cBhvr>
                                      <p:to>
                                        <p:strVal val="hidden"/>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62"/>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64"/>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3" presetClass="exit" presetSubtype="10" fill="hold" grpId="1" nodeType="clickEffect">
                                  <p:stCondLst>
                                    <p:cond delay="0"/>
                                  </p:stCondLst>
                                  <p:childTnLst>
                                    <p:animEffect transition="out" filter="blinds(horizontal)">
                                      <p:cBhvr>
                                        <p:cTn id="104" dur="500"/>
                                        <p:tgtEl>
                                          <p:spTgt spid="64"/>
                                        </p:tgtEl>
                                      </p:cBhvr>
                                    </p:animEffect>
                                    <p:set>
                                      <p:cBhvr>
                                        <p:cTn id="105" dur="1" fill="hold">
                                          <p:stCondLst>
                                            <p:cond delay="499"/>
                                          </p:stCondLst>
                                        </p:cTn>
                                        <p:tgtEl>
                                          <p:spTgt spid="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79A25-705B-ED94-83E1-3F8438AEB340}"/>
              </a:ext>
            </a:extLst>
          </p:cNvPr>
          <p:cNvSpPr>
            <a:spLocks noGrp="1"/>
          </p:cNvSpPr>
          <p:nvPr>
            <p:ph type="title" idx="4294967295"/>
          </p:nvPr>
        </p:nvSpPr>
        <p:spPr>
          <a:xfrm>
            <a:off x="757990" y="495075"/>
            <a:ext cx="11029950" cy="828675"/>
          </a:xfrm>
        </p:spPr>
        <p:txBody>
          <a:bodyPr/>
          <a:lstStyle/>
          <a:p>
            <a:r>
              <a:rPr lang="en-US" dirty="0"/>
              <a:t>Getting their </a:t>
            </a:r>
            <a:r>
              <a:rPr lang="en-US" sz="2000" dirty="0"/>
              <a:t>– wherever that is</a:t>
            </a:r>
            <a:endParaRPr lang="en-US" dirty="0"/>
          </a:p>
        </p:txBody>
      </p:sp>
      <p:sp>
        <p:nvSpPr>
          <p:cNvPr id="3" name="TextBox 2">
            <a:extLst>
              <a:ext uri="{FF2B5EF4-FFF2-40B4-BE49-F238E27FC236}">
                <a16:creationId xmlns:a16="http://schemas.microsoft.com/office/drawing/2014/main" id="{5A9597CB-279C-831E-81C8-1EAAA17A536E}"/>
              </a:ext>
            </a:extLst>
          </p:cNvPr>
          <p:cNvSpPr txBox="1"/>
          <p:nvPr/>
        </p:nvSpPr>
        <p:spPr>
          <a:xfrm>
            <a:off x="1070811" y="3105834"/>
            <a:ext cx="2346158" cy="1200329"/>
          </a:xfrm>
          <a:prstGeom prst="rect">
            <a:avLst/>
          </a:prstGeom>
          <a:noFill/>
        </p:spPr>
        <p:txBody>
          <a:bodyPr wrap="square" rtlCol="0">
            <a:spAutoFit/>
          </a:bodyPr>
          <a:lstStyle/>
          <a:p>
            <a:r>
              <a:rPr lang="en-US" dirty="0"/>
              <a:t>Establish solid(few) labels that makes sense (Pub, Int, Sec) – Protection</a:t>
            </a:r>
          </a:p>
        </p:txBody>
      </p:sp>
      <p:sp>
        <p:nvSpPr>
          <p:cNvPr id="4" name="TextBox 3">
            <a:extLst>
              <a:ext uri="{FF2B5EF4-FFF2-40B4-BE49-F238E27FC236}">
                <a16:creationId xmlns:a16="http://schemas.microsoft.com/office/drawing/2014/main" id="{C8F80C35-F72C-9E71-E1B5-7BEA29D5C7B7}"/>
              </a:ext>
            </a:extLst>
          </p:cNvPr>
          <p:cNvSpPr txBox="1"/>
          <p:nvPr/>
        </p:nvSpPr>
        <p:spPr>
          <a:xfrm>
            <a:off x="4686567" y="3105834"/>
            <a:ext cx="2457917" cy="646331"/>
          </a:xfrm>
          <a:prstGeom prst="rect">
            <a:avLst/>
          </a:prstGeom>
          <a:noFill/>
        </p:spPr>
        <p:txBody>
          <a:bodyPr wrap="none" rtlCol="0">
            <a:spAutoFit/>
          </a:bodyPr>
          <a:lstStyle/>
          <a:p>
            <a:r>
              <a:rPr lang="en-US" dirty="0"/>
              <a:t>Start using these on</a:t>
            </a:r>
            <a:br>
              <a:rPr lang="en-US" dirty="0"/>
            </a:br>
            <a:r>
              <a:rPr lang="en-US" dirty="0"/>
              <a:t>specific business areas</a:t>
            </a:r>
          </a:p>
        </p:txBody>
      </p:sp>
      <p:sp>
        <p:nvSpPr>
          <p:cNvPr id="5" name="TextBox 4">
            <a:extLst>
              <a:ext uri="{FF2B5EF4-FFF2-40B4-BE49-F238E27FC236}">
                <a16:creationId xmlns:a16="http://schemas.microsoft.com/office/drawing/2014/main" id="{FAAAA122-481D-CEF4-B514-F77A85305F43}"/>
              </a:ext>
            </a:extLst>
          </p:cNvPr>
          <p:cNvSpPr txBox="1"/>
          <p:nvPr/>
        </p:nvSpPr>
        <p:spPr>
          <a:xfrm>
            <a:off x="8414082" y="3105834"/>
            <a:ext cx="2308452" cy="646331"/>
          </a:xfrm>
          <a:prstGeom prst="rect">
            <a:avLst/>
          </a:prstGeom>
          <a:noFill/>
        </p:spPr>
        <p:txBody>
          <a:bodyPr wrap="none" rtlCol="0">
            <a:spAutoFit/>
          </a:bodyPr>
          <a:lstStyle/>
          <a:p>
            <a:r>
              <a:rPr lang="en-US" dirty="0"/>
              <a:t>Educate the business</a:t>
            </a:r>
            <a:br>
              <a:rPr lang="en-US" dirty="0"/>
            </a:br>
            <a:r>
              <a:rPr lang="en-US" dirty="0"/>
              <a:t>in using those labels</a:t>
            </a:r>
          </a:p>
        </p:txBody>
      </p:sp>
      <p:sp>
        <p:nvSpPr>
          <p:cNvPr id="6" name="TextBox 5">
            <a:extLst>
              <a:ext uri="{FF2B5EF4-FFF2-40B4-BE49-F238E27FC236}">
                <a16:creationId xmlns:a16="http://schemas.microsoft.com/office/drawing/2014/main" id="{111F6540-E5EF-D778-0CA2-CBEEA31E0C33}"/>
              </a:ext>
            </a:extLst>
          </p:cNvPr>
          <p:cNvSpPr txBox="1"/>
          <p:nvPr/>
        </p:nvSpPr>
        <p:spPr>
          <a:xfrm>
            <a:off x="1070811" y="4714055"/>
            <a:ext cx="2372765" cy="646331"/>
          </a:xfrm>
          <a:prstGeom prst="rect">
            <a:avLst/>
          </a:prstGeom>
          <a:noFill/>
        </p:spPr>
        <p:txBody>
          <a:bodyPr wrap="none" rtlCol="0">
            <a:spAutoFit/>
          </a:bodyPr>
          <a:lstStyle/>
          <a:p>
            <a:r>
              <a:rPr lang="en-US" dirty="0"/>
              <a:t>Establish the first </a:t>
            </a:r>
            <a:br>
              <a:rPr lang="en-US" dirty="0"/>
            </a:br>
            <a:r>
              <a:rPr lang="en-US" dirty="0"/>
              <a:t>classifications - GDPR</a:t>
            </a:r>
          </a:p>
        </p:txBody>
      </p:sp>
      <p:sp>
        <p:nvSpPr>
          <p:cNvPr id="7" name="TextBox 6">
            <a:extLst>
              <a:ext uri="{FF2B5EF4-FFF2-40B4-BE49-F238E27FC236}">
                <a16:creationId xmlns:a16="http://schemas.microsoft.com/office/drawing/2014/main" id="{71879438-FE0C-6ABF-4F37-2B310ED94D38}"/>
              </a:ext>
            </a:extLst>
          </p:cNvPr>
          <p:cNvSpPr txBox="1"/>
          <p:nvPr/>
        </p:nvSpPr>
        <p:spPr>
          <a:xfrm>
            <a:off x="4612371" y="4714054"/>
            <a:ext cx="2919132" cy="646331"/>
          </a:xfrm>
          <a:prstGeom prst="rect">
            <a:avLst/>
          </a:prstGeom>
          <a:noFill/>
        </p:spPr>
        <p:txBody>
          <a:bodyPr wrap="none" rtlCol="0">
            <a:spAutoFit/>
          </a:bodyPr>
          <a:lstStyle/>
          <a:p>
            <a:r>
              <a:rPr lang="en-US" dirty="0"/>
              <a:t>Start scanning and classify </a:t>
            </a:r>
            <a:br>
              <a:rPr lang="en-US" dirty="0"/>
            </a:br>
            <a:r>
              <a:rPr lang="en-US" dirty="0"/>
              <a:t>documents</a:t>
            </a:r>
          </a:p>
        </p:txBody>
      </p:sp>
      <p:sp>
        <p:nvSpPr>
          <p:cNvPr id="8" name="TextBox 7">
            <a:extLst>
              <a:ext uri="{FF2B5EF4-FFF2-40B4-BE49-F238E27FC236}">
                <a16:creationId xmlns:a16="http://schemas.microsoft.com/office/drawing/2014/main" id="{FC8628FC-1481-A5B9-32B0-449EAF01FD9C}"/>
              </a:ext>
            </a:extLst>
          </p:cNvPr>
          <p:cNvSpPr txBox="1"/>
          <p:nvPr/>
        </p:nvSpPr>
        <p:spPr>
          <a:xfrm>
            <a:off x="8410605" y="4714054"/>
            <a:ext cx="1843774" cy="646331"/>
          </a:xfrm>
          <a:prstGeom prst="rect">
            <a:avLst/>
          </a:prstGeom>
          <a:noFill/>
        </p:spPr>
        <p:txBody>
          <a:bodyPr wrap="none" rtlCol="0">
            <a:spAutoFit/>
          </a:bodyPr>
          <a:lstStyle/>
          <a:p>
            <a:r>
              <a:rPr lang="en-US" dirty="0"/>
              <a:t>Create policies –</a:t>
            </a:r>
            <a:br>
              <a:rPr lang="en-US" dirty="0"/>
            </a:br>
            <a:r>
              <a:rPr lang="en-US" dirty="0"/>
              <a:t>protect e-mails</a:t>
            </a:r>
          </a:p>
        </p:txBody>
      </p:sp>
      <p:sp>
        <p:nvSpPr>
          <p:cNvPr id="9" name="TextBox 8">
            <a:extLst>
              <a:ext uri="{FF2B5EF4-FFF2-40B4-BE49-F238E27FC236}">
                <a16:creationId xmlns:a16="http://schemas.microsoft.com/office/drawing/2014/main" id="{646DE26D-DB73-B789-BB4A-165767236CEB}"/>
              </a:ext>
            </a:extLst>
          </p:cNvPr>
          <p:cNvSpPr txBox="1"/>
          <p:nvPr/>
        </p:nvSpPr>
        <p:spPr>
          <a:xfrm>
            <a:off x="757990" y="2070892"/>
            <a:ext cx="10988714" cy="369332"/>
          </a:xfrm>
          <a:prstGeom prst="rect">
            <a:avLst/>
          </a:prstGeom>
          <a:noFill/>
        </p:spPr>
        <p:txBody>
          <a:bodyPr wrap="none" rtlCol="0">
            <a:spAutoFit/>
          </a:bodyPr>
          <a:lstStyle/>
          <a:p>
            <a:r>
              <a:rPr lang="en-US" dirty="0"/>
              <a:t>As we can not do everything in one go – focus on the riskiest elements (most likely mail and prompting)</a:t>
            </a:r>
          </a:p>
        </p:txBody>
      </p:sp>
    </p:spTree>
    <p:extLst>
      <p:ext uri="{BB962C8B-B14F-4D97-AF65-F5344CB8AC3E}">
        <p14:creationId xmlns:p14="http://schemas.microsoft.com/office/powerpoint/2010/main" val="903870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B04B3-A9A3-3E93-8E56-CDFF48622212}"/>
              </a:ext>
            </a:extLst>
          </p:cNvPr>
          <p:cNvSpPr>
            <a:spLocks noGrp="1"/>
          </p:cNvSpPr>
          <p:nvPr>
            <p:ph type="title" idx="4294967295"/>
          </p:nvPr>
        </p:nvSpPr>
        <p:spPr>
          <a:xfrm>
            <a:off x="581025" y="388383"/>
            <a:ext cx="7292315" cy="828675"/>
          </a:xfrm>
        </p:spPr>
        <p:txBody>
          <a:bodyPr/>
          <a:lstStyle/>
          <a:p>
            <a:r>
              <a:rPr lang="en-US" dirty="0"/>
              <a:t>Organization</a:t>
            </a:r>
          </a:p>
        </p:txBody>
      </p:sp>
      <p:graphicFrame>
        <p:nvGraphicFramePr>
          <p:cNvPr id="3" name="Diagram 2">
            <a:extLst>
              <a:ext uri="{FF2B5EF4-FFF2-40B4-BE49-F238E27FC236}">
                <a16:creationId xmlns:a16="http://schemas.microsoft.com/office/drawing/2014/main" id="{D42F4F86-7E15-0A04-1237-37876623A0BB}"/>
              </a:ext>
            </a:extLst>
          </p:cNvPr>
          <p:cNvGraphicFramePr/>
          <p:nvPr>
            <p:extLst>
              <p:ext uri="{D42A27DB-BD31-4B8C-83A1-F6EECF244321}">
                <p14:modId xmlns:p14="http://schemas.microsoft.com/office/powerpoint/2010/main" val="1500459027"/>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Bent Arrow 3">
            <a:extLst>
              <a:ext uri="{FF2B5EF4-FFF2-40B4-BE49-F238E27FC236}">
                <a16:creationId xmlns:a16="http://schemas.microsoft.com/office/drawing/2014/main" id="{A8FCEED9-FC04-2A7F-7187-6F176C620223}"/>
              </a:ext>
            </a:extLst>
          </p:cNvPr>
          <p:cNvSpPr/>
          <p:nvPr/>
        </p:nvSpPr>
        <p:spPr>
          <a:xfrm rot="16200000" flipH="1">
            <a:off x="4294506" y="2058026"/>
            <a:ext cx="938603" cy="913007"/>
          </a:xfrm>
          <a:prstGeom prst="bentArrow">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Box 4">
            <a:extLst>
              <a:ext uri="{FF2B5EF4-FFF2-40B4-BE49-F238E27FC236}">
                <a16:creationId xmlns:a16="http://schemas.microsoft.com/office/drawing/2014/main" id="{1E30941B-11D0-0869-74D1-59AC16860CBB}"/>
              </a:ext>
            </a:extLst>
          </p:cNvPr>
          <p:cNvSpPr txBox="1"/>
          <p:nvPr/>
        </p:nvSpPr>
        <p:spPr>
          <a:xfrm>
            <a:off x="3308684" y="2329863"/>
            <a:ext cx="1159292" cy="369332"/>
          </a:xfrm>
          <a:prstGeom prst="rect">
            <a:avLst/>
          </a:prstGeom>
          <a:noFill/>
        </p:spPr>
        <p:txBody>
          <a:bodyPr wrap="none" rtlCol="0">
            <a:spAutoFit/>
          </a:bodyPr>
          <a:lstStyle/>
          <a:p>
            <a:r>
              <a:rPr lang="en-US" dirty="0"/>
              <a:t>Sanctions</a:t>
            </a:r>
          </a:p>
        </p:txBody>
      </p:sp>
      <p:sp>
        <p:nvSpPr>
          <p:cNvPr id="7" name="TextBox 6">
            <a:extLst>
              <a:ext uri="{FF2B5EF4-FFF2-40B4-BE49-F238E27FC236}">
                <a16:creationId xmlns:a16="http://schemas.microsoft.com/office/drawing/2014/main" id="{3DF08ABA-965D-5FDA-6851-36CC93111F16}"/>
              </a:ext>
            </a:extLst>
          </p:cNvPr>
          <p:cNvSpPr txBox="1"/>
          <p:nvPr/>
        </p:nvSpPr>
        <p:spPr>
          <a:xfrm>
            <a:off x="6663082" y="3204679"/>
            <a:ext cx="1659429" cy="646331"/>
          </a:xfrm>
          <a:prstGeom prst="rect">
            <a:avLst/>
          </a:prstGeom>
          <a:noFill/>
        </p:spPr>
        <p:txBody>
          <a:bodyPr wrap="none" rtlCol="0">
            <a:spAutoFit/>
          </a:bodyPr>
          <a:lstStyle/>
          <a:p>
            <a:r>
              <a:rPr lang="en-US" dirty="0"/>
              <a:t>Defines/plans/</a:t>
            </a:r>
            <a:br>
              <a:rPr lang="en-US" dirty="0"/>
            </a:br>
            <a:r>
              <a:rPr lang="en-US" dirty="0"/>
              <a:t>Educates</a:t>
            </a:r>
          </a:p>
        </p:txBody>
      </p:sp>
      <p:sp>
        <p:nvSpPr>
          <p:cNvPr id="8" name="TextBox 7">
            <a:extLst>
              <a:ext uri="{FF2B5EF4-FFF2-40B4-BE49-F238E27FC236}">
                <a16:creationId xmlns:a16="http://schemas.microsoft.com/office/drawing/2014/main" id="{3B44D95A-9D4E-DF42-FD49-3D061C3D7549}"/>
              </a:ext>
            </a:extLst>
          </p:cNvPr>
          <p:cNvSpPr txBox="1"/>
          <p:nvPr/>
        </p:nvSpPr>
        <p:spPr>
          <a:xfrm>
            <a:off x="4378795" y="5125453"/>
            <a:ext cx="1382110" cy="369332"/>
          </a:xfrm>
          <a:prstGeom prst="rect">
            <a:avLst/>
          </a:prstGeom>
          <a:noFill/>
        </p:spPr>
        <p:txBody>
          <a:bodyPr wrap="none" rtlCol="0">
            <a:spAutoFit/>
          </a:bodyPr>
          <a:lstStyle/>
          <a:p>
            <a:r>
              <a:rPr lang="en-US" dirty="0"/>
              <a:t>Implements</a:t>
            </a:r>
          </a:p>
        </p:txBody>
      </p:sp>
      <p:sp>
        <p:nvSpPr>
          <p:cNvPr id="9" name="TextBox 8">
            <a:extLst>
              <a:ext uri="{FF2B5EF4-FFF2-40B4-BE49-F238E27FC236}">
                <a16:creationId xmlns:a16="http://schemas.microsoft.com/office/drawing/2014/main" id="{454D6A30-5D33-A38C-E68B-7D7AE65A440D}"/>
              </a:ext>
            </a:extLst>
          </p:cNvPr>
          <p:cNvSpPr txBox="1"/>
          <p:nvPr/>
        </p:nvSpPr>
        <p:spPr>
          <a:xfrm>
            <a:off x="2368369" y="5125453"/>
            <a:ext cx="1036053" cy="369332"/>
          </a:xfrm>
          <a:prstGeom prst="rect">
            <a:avLst/>
          </a:prstGeom>
          <a:noFill/>
        </p:spPr>
        <p:txBody>
          <a:bodyPr wrap="none" rtlCol="0">
            <a:spAutoFit/>
          </a:bodyPr>
          <a:lstStyle/>
          <a:p>
            <a:r>
              <a:rPr lang="en-US" dirty="0"/>
              <a:t>Controls</a:t>
            </a:r>
          </a:p>
        </p:txBody>
      </p:sp>
      <p:sp>
        <p:nvSpPr>
          <p:cNvPr id="10" name="TextBox 9">
            <a:extLst>
              <a:ext uri="{FF2B5EF4-FFF2-40B4-BE49-F238E27FC236}">
                <a16:creationId xmlns:a16="http://schemas.microsoft.com/office/drawing/2014/main" id="{C610ABCB-8EA2-0CC3-B204-DA5C19C25FFF}"/>
              </a:ext>
            </a:extLst>
          </p:cNvPr>
          <p:cNvSpPr txBox="1"/>
          <p:nvPr/>
        </p:nvSpPr>
        <p:spPr>
          <a:xfrm>
            <a:off x="8580529" y="5125453"/>
            <a:ext cx="1579471" cy="369332"/>
          </a:xfrm>
          <a:prstGeom prst="rect">
            <a:avLst/>
          </a:prstGeom>
          <a:noFill/>
        </p:spPr>
        <p:txBody>
          <a:bodyPr wrap="none" rtlCol="0">
            <a:spAutoFit/>
          </a:bodyPr>
          <a:lstStyle/>
          <a:p>
            <a:r>
              <a:rPr lang="en-US" dirty="0"/>
              <a:t>Uses/Adheres</a:t>
            </a:r>
          </a:p>
        </p:txBody>
      </p:sp>
      <p:sp>
        <p:nvSpPr>
          <p:cNvPr id="11" name="U-Turn Arrow 10">
            <a:extLst>
              <a:ext uri="{FF2B5EF4-FFF2-40B4-BE49-F238E27FC236}">
                <a16:creationId xmlns:a16="http://schemas.microsoft.com/office/drawing/2014/main" id="{AC5C7E3B-859F-0C39-EC3C-7FAED472BBDB}"/>
              </a:ext>
            </a:extLst>
          </p:cNvPr>
          <p:cNvSpPr/>
          <p:nvPr/>
        </p:nvSpPr>
        <p:spPr>
          <a:xfrm rot="5400000">
            <a:off x="5762342" y="3670987"/>
            <a:ext cx="1095505" cy="794085"/>
          </a:xfrm>
          <a:prstGeom prst="uturnArrow">
            <a:avLst>
              <a:gd name="adj1" fmla="val 25000"/>
              <a:gd name="adj2" fmla="val 25000"/>
              <a:gd name="adj3" fmla="val 25000"/>
              <a:gd name="adj4" fmla="val 43750"/>
              <a:gd name="adj5" fmla="val 97727"/>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712187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A238D8A-86EA-5493-EF23-2ED15365BC55}"/>
              </a:ext>
            </a:extLst>
          </p:cNvPr>
          <p:cNvSpPr txBox="1"/>
          <p:nvPr/>
        </p:nvSpPr>
        <p:spPr>
          <a:xfrm>
            <a:off x="1270660" y="1959429"/>
            <a:ext cx="1810817" cy="738664"/>
          </a:xfrm>
          <a:prstGeom prst="rect">
            <a:avLst/>
          </a:prstGeom>
          <a:noFill/>
        </p:spPr>
        <p:txBody>
          <a:bodyPr wrap="none" rtlCol="0">
            <a:spAutoFit/>
          </a:bodyPr>
          <a:lstStyle/>
          <a:p>
            <a:r>
              <a:rPr lang="en-US" dirty="0"/>
              <a:t>Entra ID</a:t>
            </a:r>
          </a:p>
          <a:p>
            <a:r>
              <a:rPr lang="en-US" sz="1200" dirty="0"/>
              <a:t>Handles users, groups,</a:t>
            </a:r>
            <a:br>
              <a:rPr lang="en-US" sz="1200" dirty="0"/>
            </a:br>
            <a:r>
              <a:rPr lang="en-US" sz="1200" dirty="0"/>
              <a:t>managed identities, MFA</a:t>
            </a:r>
          </a:p>
        </p:txBody>
      </p:sp>
      <p:sp>
        <p:nvSpPr>
          <p:cNvPr id="3" name="TextBox 2">
            <a:extLst>
              <a:ext uri="{FF2B5EF4-FFF2-40B4-BE49-F238E27FC236}">
                <a16:creationId xmlns:a16="http://schemas.microsoft.com/office/drawing/2014/main" id="{5C2E154F-CC77-4C17-B036-714097A0F4D3}"/>
              </a:ext>
            </a:extLst>
          </p:cNvPr>
          <p:cNvSpPr txBox="1"/>
          <p:nvPr/>
        </p:nvSpPr>
        <p:spPr>
          <a:xfrm>
            <a:off x="1270660" y="3693226"/>
            <a:ext cx="1568058" cy="738664"/>
          </a:xfrm>
          <a:prstGeom prst="rect">
            <a:avLst/>
          </a:prstGeom>
          <a:noFill/>
        </p:spPr>
        <p:txBody>
          <a:bodyPr wrap="none" rtlCol="0">
            <a:spAutoFit/>
          </a:bodyPr>
          <a:lstStyle/>
          <a:p>
            <a:r>
              <a:rPr lang="en-US" dirty="0"/>
              <a:t>Intune</a:t>
            </a:r>
            <a:br>
              <a:rPr lang="en-US" dirty="0"/>
            </a:br>
            <a:r>
              <a:rPr lang="en-US" sz="1200" dirty="0"/>
              <a:t>Handles enrollments,</a:t>
            </a:r>
            <a:br>
              <a:rPr lang="en-US" sz="1200" dirty="0"/>
            </a:br>
            <a:r>
              <a:rPr lang="en-US" sz="1200" dirty="0"/>
              <a:t>devices, updates</a:t>
            </a:r>
            <a:endParaRPr lang="en-US" dirty="0"/>
          </a:p>
        </p:txBody>
      </p:sp>
      <p:sp>
        <p:nvSpPr>
          <p:cNvPr id="4" name="TextBox 3">
            <a:extLst>
              <a:ext uri="{FF2B5EF4-FFF2-40B4-BE49-F238E27FC236}">
                <a16:creationId xmlns:a16="http://schemas.microsoft.com/office/drawing/2014/main" id="{1772D2B5-6901-C050-43BA-454592A95C13}"/>
              </a:ext>
            </a:extLst>
          </p:cNvPr>
          <p:cNvSpPr txBox="1"/>
          <p:nvPr/>
        </p:nvSpPr>
        <p:spPr>
          <a:xfrm>
            <a:off x="8021757" y="1953696"/>
            <a:ext cx="2197012" cy="707886"/>
          </a:xfrm>
          <a:prstGeom prst="rect">
            <a:avLst/>
          </a:prstGeom>
          <a:noFill/>
        </p:spPr>
        <p:txBody>
          <a:bodyPr wrap="none" rtlCol="0">
            <a:spAutoFit/>
          </a:bodyPr>
          <a:lstStyle/>
          <a:p>
            <a:r>
              <a:rPr lang="en-US" dirty="0"/>
              <a:t>Purview Compliance</a:t>
            </a:r>
            <a:br>
              <a:rPr lang="en-US" dirty="0"/>
            </a:br>
            <a:r>
              <a:rPr lang="en-US" sz="1100" dirty="0"/>
              <a:t>OneDrive, </a:t>
            </a:r>
            <a:r>
              <a:rPr lang="en-US" sz="1100" dirty="0" err="1"/>
              <a:t>Sharepoint</a:t>
            </a:r>
            <a:r>
              <a:rPr lang="en-US" sz="1100" dirty="0"/>
              <a:t>, Fabric,</a:t>
            </a:r>
            <a:br>
              <a:rPr lang="en-US" sz="1100" dirty="0"/>
            </a:br>
            <a:r>
              <a:rPr lang="en-US" sz="1100" dirty="0"/>
              <a:t>Sensitivity </a:t>
            </a:r>
            <a:r>
              <a:rPr lang="en-US" sz="1100" dirty="0" err="1"/>
              <a:t>labes</a:t>
            </a:r>
            <a:r>
              <a:rPr lang="en-US" sz="1100" dirty="0"/>
              <a:t>, </a:t>
            </a:r>
            <a:r>
              <a:rPr lang="en-US" sz="1100" dirty="0" err="1"/>
              <a:t>CoPilots</a:t>
            </a:r>
            <a:endParaRPr lang="en-US" dirty="0"/>
          </a:p>
        </p:txBody>
      </p:sp>
      <p:sp>
        <p:nvSpPr>
          <p:cNvPr id="5" name="TextBox 4">
            <a:extLst>
              <a:ext uri="{FF2B5EF4-FFF2-40B4-BE49-F238E27FC236}">
                <a16:creationId xmlns:a16="http://schemas.microsoft.com/office/drawing/2014/main" id="{7CE6D7FE-1CC7-7E39-A4E1-D4595039AA40}"/>
              </a:ext>
            </a:extLst>
          </p:cNvPr>
          <p:cNvSpPr txBox="1"/>
          <p:nvPr/>
        </p:nvSpPr>
        <p:spPr>
          <a:xfrm>
            <a:off x="8021757" y="3690359"/>
            <a:ext cx="1375185" cy="738664"/>
          </a:xfrm>
          <a:prstGeom prst="rect">
            <a:avLst/>
          </a:prstGeom>
          <a:noFill/>
        </p:spPr>
        <p:txBody>
          <a:bodyPr wrap="none" rtlCol="0">
            <a:spAutoFit/>
          </a:bodyPr>
          <a:lstStyle/>
          <a:p>
            <a:r>
              <a:rPr lang="en-US" dirty="0"/>
              <a:t>Azure</a:t>
            </a:r>
            <a:br>
              <a:rPr lang="en-US" dirty="0"/>
            </a:br>
            <a:r>
              <a:rPr lang="en-US" sz="1200" dirty="0"/>
              <a:t>Network, services,</a:t>
            </a:r>
          </a:p>
          <a:p>
            <a:r>
              <a:rPr lang="en-US" sz="1200" dirty="0"/>
              <a:t>Apps</a:t>
            </a:r>
          </a:p>
        </p:txBody>
      </p:sp>
      <p:sp>
        <p:nvSpPr>
          <p:cNvPr id="6" name="Title 1">
            <a:extLst>
              <a:ext uri="{FF2B5EF4-FFF2-40B4-BE49-F238E27FC236}">
                <a16:creationId xmlns:a16="http://schemas.microsoft.com/office/drawing/2014/main" id="{F3D79C8A-C1C7-7A6C-D1E3-5A07482A4655}"/>
              </a:ext>
            </a:extLst>
          </p:cNvPr>
          <p:cNvSpPr txBox="1">
            <a:spLocks/>
          </p:cNvSpPr>
          <p:nvPr/>
        </p:nvSpPr>
        <p:spPr>
          <a:xfrm>
            <a:off x="581025" y="388383"/>
            <a:ext cx="7292315" cy="828675"/>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dirty="0"/>
              <a:t>The tooling</a:t>
            </a:r>
          </a:p>
        </p:txBody>
      </p:sp>
      <p:sp>
        <p:nvSpPr>
          <p:cNvPr id="7" name="TextBox 6">
            <a:extLst>
              <a:ext uri="{FF2B5EF4-FFF2-40B4-BE49-F238E27FC236}">
                <a16:creationId xmlns:a16="http://schemas.microsoft.com/office/drawing/2014/main" id="{AA0F087E-FAB2-A495-5DA5-A768B29927B2}"/>
              </a:ext>
            </a:extLst>
          </p:cNvPr>
          <p:cNvSpPr txBox="1"/>
          <p:nvPr/>
        </p:nvSpPr>
        <p:spPr>
          <a:xfrm>
            <a:off x="1329586" y="5427023"/>
            <a:ext cx="1944956" cy="738664"/>
          </a:xfrm>
          <a:prstGeom prst="rect">
            <a:avLst/>
          </a:prstGeom>
          <a:noFill/>
        </p:spPr>
        <p:txBody>
          <a:bodyPr wrap="none" rtlCol="0">
            <a:spAutoFit/>
          </a:bodyPr>
          <a:lstStyle/>
          <a:p>
            <a:r>
              <a:rPr lang="en-US" dirty="0"/>
              <a:t>Workflow</a:t>
            </a:r>
            <a:br>
              <a:rPr lang="en-US" dirty="0"/>
            </a:br>
            <a:r>
              <a:rPr lang="en-US" sz="1200" dirty="0"/>
              <a:t>Automation, approvals,</a:t>
            </a:r>
            <a:br>
              <a:rPr lang="en-US" sz="1200" dirty="0"/>
            </a:br>
            <a:r>
              <a:rPr lang="en-US" sz="1200" dirty="0"/>
              <a:t>enforcement of data rights</a:t>
            </a:r>
            <a:endParaRPr lang="en-US" dirty="0"/>
          </a:p>
        </p:txBody>
      </p:sp>
      <p:sp>
        <p:nvSpPr>
          <p:cNvPr id="8" name="TextBox 7">
            <a:extLst>
              <a:ext uri="{FF2B5EF4-FFF2-40B4-BE49-F238E27FC236}">
                <a16:creationId xmlns:a16="http://schemas.microsoft.com/office/drawing/2014/main" id="{CD64AB4A-5A75-B9AF-9C2A-E8C3C0C92FDE}"/>
              </a:ext>
            </a:extLst>
          </p:cNvPr>
          <p:cNvSpPr txBox="1"/>
          <p:nvPr/>
        </p:nvSpPr>
        <p:spPr>
          <a:xfrm>
            <a:off x="7959569" y="5427023"/>
            <a:ext cx="1915781" cy="738664"/>
          </a:xfrm>
          <a:prstGeom prst="rect">
            <a:avLst/>
          </a:prstGeom>
          <a:noFill/>
        </p:spPr>
        <p:txBody>
          <a:bodyPr wrap="none" rtlCol="0">
            <a:spAutoFit/>
          </a:bodyPr>
          <a:lstStyle/>
          <a:p>
            <a:r>
              <a:rPr lang="en-US" dirty="0"/>
              <a:t>API’s</a:t>
            </a:r>
          </a:p>
          <a:p>
            <a:r>
              <a:rPr lang="en-US" sz="1200" dirty="0"/>
              <a:t>Apache Atlas/Purview API,</a:t>
            </a:r>
            <a:br>
              <a:rPr lang="en-US" sz="1200" dirty="0"/>
            </a:br>
            <a:r>
              <a:rPr lang="en-US" sz="1200" dirty="0"/>
              <a:t>openness, extensible </a:t>
            </a:r>
          </a:p>
        </p:txBody>
      </p:sp>
      <p:sp>
        <p:nvSpPr>
          <p:cNvPr id="9" name="TextBox 8">
            <a:extLst>
              <a:ext uri="{FF2B5EF4-FFF2-40B4-BE49-F238E27FC236}">
                <a16:creationId xmlns:a16="http://schemas.microsoft.com/office/drawing/2014/main" id="{92E23921-23BE-BD09-B598-488924FEB358}"/>
              </a:ext>
            </a:extLst>
          </p:cNvPr>
          <p:cNvSpPr txBox="1"/>
          <p:nvPr/>
        </p:nvSpPr>
        <p:spPr>
          <a:xfrm>
            <a:off x="4037611" y="3693226"/>
            <a:ext cx="2738250" cy="369332"/>
          </a:xfrm>
          <a:prstGeom prst="rect">
            <a:avLst/>
          </a:prstGeom>
          <a:noFill/>
        </p:spPr>
        <p:txBody>
          <a:bodyPr wrap="none" rtlCol="0">
            <a:spAutoFit/>
          </a:bodyPr>
          <a:lstStyle/>
          <a:p>
            <a:r>
              <a:rPr lang="en-US" dirty="0"/>
              <a:t>Purview Data Governance</a:t>
            </a:r>
          </a:p>
        </p:txBody>
      </p:sp>
      <p:sp>
        <p:nvSpPr>
          <p:cNvPr id="10" name="Up-Down Arrow 9">
            <a:extLst>
              <a:ext uri="{FF2B5EF4-FFF2-40B4-BE49-F238E27FC236}">
                <a16:creationId xmlns:a16="http://schemas.microsoft.com/office/drawing/2014/main" id="{576CF7CA-A583-FE6E-B33B-7F8CAF3F8550}"/>
              </a:ext>
            </a:extLst>
          </p:cNvPr>
          <p:cNvSpPr/>
          <p:nvPr/>
        </p:nvSpPr>
        <p:spPr>
          <a:xfrm rot="18115092">
            <a:off x="3603987" y="2365899"/>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Up-Down Arrow 10">
            <a:extLst>
              <a:ext uri="{FF2B5EF4-FFF2-40B4-BE49-F238E27FC236}">
                <a16:creationId xmlns:a16="http://schemas.microsoft.com/office/drawing/2014/main" id="{FA5D45B7-B28D-D961-A14E-876400129042}"/>
              </a:ext>
            </a:extLst>
          </p:cNvPr>
          <p:cNvSpPr/>
          <p:nvPr/>
        </p:nvSpPr>
        <p:spPr>
          <a:xfrm rot="13815095">
            <a:off x="3550456" y="4119384"/>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Up-Down Arrow 11">
            <a:extLst>
              <a:ext uri="{FF2B5EF4-FFF2-40B4-BE49-F238E27FC236}">
                <a16:creationId xmlns:a16="http://schemas.microsoft.com/office/drawing/2014/main" id="{891E990F-A751-0967-1AF5-B33D42DA8ACB}"/>
              </a:ext>
            </a:extLst>
          </p:cNvPr>
          <p:cNvSpPr/>
          <p:nvPr/>
        </p:nvSpPr>
        <p:spPr>
          <a:xfrm rot="16200000">
            <a:off x="3391855" y="3309223"/>
            <a:ext cx="210363" cy="1175157"/>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Up-Down Arrow 12">
            <a:extLst>
              <a:ext uri="{FF2B5EF4-FFF2-40B4-BE49-F238E27FC236}">
                <a16:creationId xmlns:a16="http://schemas.microsoft.com/office/drawing/2014/main" id="{A6CCF9B6-776E-C9C5-DD48-962D93A2F1B5}"/>
              </a:ext>
            </a:extLst>
          </p:cNvPr>
          <p:cNvSpPr/>
          <p:nvPr/>
        </p:nvSpPr>
        <p:spPr>
          <a:xfrm rot="13731751">
            <a:off x="7243504" y="2256310"/>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Up-Down Arrow 13">
            <a:extLst>
              <a:ext uri="{FF2B5EF4-FFF2-40B4-BE49-F238E27FC236}">
                <a16:creationId xmlns:a16="http://schemas.microsoft.com/office/drawing/2014/main" id="{0768B99E-02EE-7A64-4B3B-38A0F02B9244}"/>
              </a:ext>
            </a:extLst>
          </p:cNvPr>
          <p:cNvSpPr/>
          <p:nvPr/>
        </p:nvSpPr>
        <p:spPr>
          <a:xfrm rot="18433548">
            <a:off x="7297378" y="3915475"/>
            <a:ext cx="202863" cy="1620146"/>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Up-Down Arrow 14">
            <a:extLst>
              <a:ext uri="{FF2B5EF4-FFF2-40B4-BE49-F238E27FC236}">
                <a16:creationId xmlns:a16="http://schemas.microsoft.com/office/drawing/2014/main" id="{0DCB2E8D-9133-493E-A052-247EE5BC61FE}"/>
              </a:ext>
            </a:extLst>
          </p:cNvPr>
          <p:cNvSpPr/>
          <p:nvPr/>
        </p:nvSpPr>
        <p:spPr>
          <a:xfrm rot="16200000">
            <a:off x="7203517" y="3309221"/>
            <a:ext cx="210363" cy="1175157"/>
          </a:xfrm>
          <a:prstGeom prst="up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850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E329C-06DB-AEF0-EE9C-B8421523F00F}"/>
              </a:ext>
            </a:extLst>
          </p:cNvPr>
          <p:cNvSpPr txBox="1">
            <a:spLocks/>
          </p:cNvSpPr>
          <p:nvPr/>
        </p:nvSpPr>
        <p:spPr>
          <a:xfrm>
            <a:off x="581025" y="388383"/>
            <a:ext cx="7292315" cy="828675"/>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dirty="0"/>
              <a:t>Topics of interest</a:t>
            </a:r>
          </a:p>
        </p:txBody>
      </p:sp>
      <p:sp>
        <p:nvSpPr>
          <p:cNvPr id="3" name="TextBox 2">
            <a:extLst>
              <a:ext uri="{FF2B5EF4-FFF2-40B4-BE49-F238E27FC236}">
                <a16:creationId xmlns:a16="http://schemas.microsoft.com/office/drawing/2014/main" id="{7D9DAF74-8D9B-2298-7E8F-5CAAD7F010A6}"/>
              </a:ext>
            </a:extLst>
          </p:cNvPr>
          <p:cNvSpPr txBox="1"/>
          <p:nvPr/>
        </p:nvSpPr>
        <p:spPr>
          <a:xfrm>
            <a:off x="735724" y="1460938"/>
            <a:ext cx="6222537" cy="4247317"/>
          </a:xfrm>
          <a:prstGeom prst="rect">
            <a:avLst/>
          </a:prstGeom>
          <a:noFill/>
        </p:spPr>
        <p:txBody>
          <a:bodyPr wrap="none" rtlCol="0">
            <a:spAutoFit/>
          </a:bodyPr>
          <a:lstStyle/>
          <a:p>
            <a:pPr marL="285750" indent="-285750">
              <a:buFont typeface="Arial" panose="020B0604020202020204" pitchFamily="34" charset="0"/>
              <a:buChar char="•"/>
            </a:pPr>
            <a:r>
              <a:rPr lang="en-US" dirty="0"/>
              <a:t>Naming standard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wnership / ambassadors / management suppor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duc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nforcement / providing insigh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Guardrail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organize the data map – domains/collec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organize the data products / governance domai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omain” name used many places/tools</a:t>
            </a:r>
          </a:p>
        </p:txBody>
      </p:sp>
    </p:spTree>
    <p:extLst>
      <p:ext uri="{BB962C8B-B14F-4D97-AF65-F5344CB8AC3E}">
        <p14:creationId xmlns:p14="http://schemas.microsoft.com/office/powerpoint/2010/main" val="3346694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01031D-CBE4-6EF6-65C5-418EEAB9DB70}"/>
              </a:ext>
            </a:extLst>
          </p:cNvPr>
          <p:cNvSpPr>
            <a:spLocks noGrp="1"/>
          </p:cNvSpPr>
          <p:nvPr>
            <p:ph type="body" sz="quarter" idx="4294967295"/>
          </p:nvPr>
        </p:nvSpPr>
        <p:spPr>
          <a:xfrm>
            <a:off x="6642781" y="2631734"/>
            <a:ext cx="3230562" cy="1398587"/>
          </a:xfrm>
          <a:prstGeom prst="rect">
            <a:avLst/>
          </a:prstGeom>
        </p:spPr>
        <p:txBody>
          <a:bodyPr/>
          <a:lstStyle/>
          <a:p>
            <a:pPr marL="0" indent="0">
              <a:buNone/>
            </a:pPr>
            <a:r>
              <a:rPr lang="en-US" sz="4000" dirty="0">
                <a:solidFill>
                  <a:schemeClr val="bg1"/>
                </a:solidFill>
              </a:rPr>
              <a:t>Introduction</a:t>
            </a:r>
          </a:p>
        </p:txBody>
      </p:sp>
    </p:spTree>
    <p:extLst>
      <p:ext uri="{BB962C8B-B14F-4D97-AF65-F5344CB8AC3E}">
        <p14:creationId xmlns:p14="http://schemas.microsoft.com/office/powerpoint/2010/main" val="2691253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EC98B-A882-D20D-4BB7-B27CB4F9DB5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2039725-BF3F-E2DE-64B9-DB998EEDD504}"/>
              </a:ext>
            </a:extLst>
          </p:cNvPr>
          <p:cNvSpPr>
            <a:spLocks noGrp="1"/>
          </p:cNvSpPr>
          <p:nvPr>
            <p:ph type="body" sz="quarter" idx="4294967295"/>
          </p:nvPr>
        </p:nvSpPr>
        <p:spPr>
          <a:xfrm>
            <a:off x="6400800" y="2384897"/>
            <a:ext cx="5127585" cy="2566481"/>
          </a:xfrm>
          <a:prstGeom prst="rect">
            <a:avLst/>
          </a:prstGeom>
        </p:spPr>
        <p:txBody>
          <a:bodyPr/>
          <a:lstStyle/>
          <a:p>
            <a:pPr marL="0" indent="0">
              <a:buNone/>
            </a:pPr>
            <a:r>
              <a:rPr lang="en-GB" sz="4000" dirty="0">
                <a:solidFill>
                  <a:schemeClr val="bg1"/>
                </a:solidFill>
              </a:rPr>
              <a:t>Get </a:t>
            </a:r>
            <a:r>
              <a:rPr lang="en-GB" sz="4000" b="1" dirty="0">
                <a:solidFill>
                  <a:schemeClr val="accent1">
                    <a:lumMod val="50000"/>
                  </a:schemeClr>
                </a:solidFill>
              </a:rPr>
              <a:t>Purview Data Governance</a:t>
            </a:r>
            <a:r>
              <a:rPr lang="en-GB" sz="4000" dirty="0">
                <a:solidFill>
                  <a:schemeClr val="bg1"/>
                </a:solidFill>
              </a:rPr>
              <a:t> running</a:t>
            </a:r>
            <a:endParaRPr lang="en-DK" sz="4000">
              <a:solidFill>
                <a:schemeClr val="bg1"/>
              </a:solidFill>
            </a:endParaRPr>
          </a:p>
        </p:txBody>
      </p:sp>
    </p:spTree>
    <p:extLst>
      <p:ext uri="{BB962C8B-B14F-4D97-AF65-F5344CB8AC3E}">
        <p14:creationId xmlns:p14="http://schemas.microsoft.com/office/powerpoint/2010/main" val="35343465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a:extLst>
              <a:ext uri="{FF2B5EF4-FFF2-40B4-BE49-F238E27FC236}">
                <a16:creationId xmlns:a16="http://schemas.microsoft.com/office/drawing/2014/main" id="{A4F5D922-AE45-FA32-F6EB-C32BB99FED31}"/>
              </a:ext>
            </a:extLst>
          </p:cNvPr>
          <p:cNvSpPr/>
          <p:nvPr/>
        </p:nvSpPr>
        <p:spPr>
          <a:xfrm>
            <a:off x="315783" y="795022"/>
            <a:ext cx="4033790" cy="871609"/>
          </a:xfrm>
          <a:prstGeom prst="roundRect">
            <a:avLst>
              <a:gd name="adj" fmla="val 5971"/>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U-Turn Arrow 22">
            <a:extLst>
              <a:ext uri="{FF2B5EF4-FFF2-40B4-BE49-F238E27FC236}">
                <a16:creationId xmlns:a16="http://schemas.microsoft.com/office/drawing/2014/main" id="{45D074B9-75A7-CA3B-2F60-9E20BDC04D12}"/>
              </a:ext>
            </a:extLst>
          </p:cNvPr>
          <p:cNvSpPr/>
          <p:nvPr/>
        </p:nvSpPr>
        <p:spPr>
          <a:xfrm rot="5400000" flipV="1">
            <a:off x="247984" y="4148516"/>
            <a:ext cx="1828796" cy="932685"/>
          </a:xfrm>
          <a:prstGeom prst="uturnArrow">
            <a:avLst>
              <a:gd name="adj1" fmla="val 17157"/>
              <a:gd name="adj2" fmla="val 15686"/>
              <a:gd name="adj3" fmla="val 24020"/>
              <a:gd name="adj4" fmla="val 43750"/>
              <a:gd name="adj5" fmla="val 75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extBox 1">
            <a:extLst>
              <a:ext uri="{FF2B5EF4-FFF2-40B4-BE49-F238E27FC236}">
                <a16:creationId xmlns:a16="http://schemas.microsoft.com/office/drawing/2014/main" id="{DBD431AD-AF7B-319E-2906-58D8681FBBBE}"/>
              </a:ext>
            </a:extLst>
          </p:cNvPr>
          <p:cNvSpPr txBox="1"/>
          <p:nvPr/>
        </p:nvSpPr>
        <p:spPr>
          <a:xfrm>
            <a:off x="595223" y="422694"/>
            <a:ext cx="2369367" cy="369332"/>
          </a:xfrm>
          <a:prstGeom prst="rect">
            <a:avLst/>
          </a:prstGeom>
          <a:noFill/>
        </p:spPr>
        <p:txBody>
          <a:bodyPr wrap="none" rtlCol="0">
            <a:spAutoFit/>
          </a:bodyPr>
          <a:lstStyle/>
          <a:p>
            <a:r>
              <a:rPr lang="en-US"/>
              <a:t>The Purview “Process”</a:t>
            </a:r>
          </a:p>
        </p:txBody>
      </p:sp>
      <p:sp>
        <p:nvSpPr>
          <p:cNvPr id="4" name="Rounded Rectangle 3">
            <a:extLst>
              <a:ext uri="{FF2B5EF4-FFF2-40B4-BE49-F238E27FC236}">
                <a16:creationId xmlns:a16="http://schemas.microsoft.com/office/drawing/2014/main" id="{7F4E9549-AFE9-D4DE-5162-4DCA67AFC2F8}"/>
              </a:ext>
            </a:extLst>
          </p:cNvPr>
          <p:cNvSpPr/>
          <p:nvPr/>
        </p:nvSpPr>
        <p:spPr>
          <a:xfrm>
            <a:off x="1162383" y="4069466"/>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t>Scan</a:t>
            </a:r>
          </a:p>
        </p:txBody>
      </p:sp>
      <p:sp>
        <p:nvSpPr>
          <p:cNvPr id="5" name="Rounded Rectangle 4">
            <a:extLst>
              <a:ext uri="{FF2B5EF4-FFF2-40B4-BE49-F238E27FC236}">
                <a16:creationId xmlns:a16="http://schemas.microsoft.com/office/drawing/2014/main" id="{2757BD0E-6046-498C-00AB-DECFABF21107}"/>
              </a:ext>
            </a:extLst>
          </p:cNvPr>
          <p:cNvSpPr/>
          <p:nvPr/>
        </p:nvSpPr>
        <p:spPr>
          <a:xfrm>
            <a:off x="2496614" y="4078092"/>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t>API</a:t>
            </a:r>
          </a:p>
        </p:txBody>
      </p:sp>
      <p:sp>
        <p:nvSpPr>
          <p:cNvPr id="7" name="Rounded Rectangle 6">
            <a:extLst>
              <a:ext uri="{FF2B5EF4-FFF2-40B4-BE49-F238E27FC236}">
                <a16:creationId xmlns:a16="http://schemas.microsoft.com/office/drawing/2014/main" id="{03D14DD5-1818-DC01-17AE-ABF37E6526C5}"/>
              </a:ext>
            </a:extLst>
          </p:cNvPr>
          <p:cNvSpPr/>
          <p:nvPr/>
        </p:nvSpPr>
        <p:spPr>
          <a:xfrm>
            <a:off x="1389552" y="4456446"/>
            <a:ext cx="2214124" cy="182879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nhance assets</a:t>
            </a:r>
          </a:p>
          <a:p>
            <a:pPr algn="ctr"/>
            <a:endParaRPr lang="en-US" sz="700"/>
          </a:p>
          <a:p>
            <a:pPr marL="171450" indent="-171450">
              <a:buFont typeface="Arial" panose="020B0604020202020204" pitchFamily="34" charset="0"/>
              <a:buChar char="•"/>
            </a:pPr>
            <a:r>
              <a:rPr lang="en-US" sz="1200"/>
              <a:t>Descriptions (scan?)</a:t>
            </a:r>
          </a:p>
          <a:p>
            <a:pPr marL="171450" indent="-171450">
              <a:buFont typeface="Arial" panose="020B0604020202020204" pitchFamily="34" charset="0"/>
              <a:buChar char="•"/>
            </a:pPr>
            <a:r>
              <a:rPr lang="en-US" sz="1200"/>
              <a:t>Owners</a:t>
            </a:r>
          </a:p>
          <a:p>
            <a:pPr marL="171450" indent="-171450">
              <a:buFont typeface="Arial" panose="020B0604020202020204" pitchFamily="34" charset="0"/>
              <a:buChar char="•"/>
            </a:pPr>
            <a:r>
              <a:rPr lang="en-US" sz="1200"/>
              <a:t>Lineage (scan?)</a:t>
            </a:r>
          </a:p>
          <a:p>
            <a:pPr marL="171450" indent="-171450">
              <a:buFont typeface="Arial" panose="020B0604020202020204" pitchFamily="34" charset="0"/>
              <a:buChar char="•"/>
            </a:pPr>
            <a:r>
              <a:rPr lang="en-US" sz="1200"/>
              <a:t>Glossaries</a:t>
            </a:r>
          </a:p>
          <a:p>
            <a:pPr marL="171450" indent="-171450">
              <a:buFont typeface="Arial" panose="020B0604020202020204" pitchFamily="34" charset="0"/>
              <a:buChar char="•"/>
            </a:pPr>
            <a:r>
              <a:rPr lang="en-US" sz="1200"/>
              <a:t>Classification (scan?)</a:t>
            </a:r>
          </a:p>
          <a:p>
            <a:pPr marL="171450" indent="-171450">
              <a:buFont typeface="Arial" panose="020B0604020202020204" pitchFamily="34" charset="0"/>
              <a:buChar char="•"/>
            </a:pPr>
            <a:r>
              <a:rPr lang="en-US" sz="1200"/>
              <a:t>Sensitivity</a:t>
            </a:r>
          </a:p>
        </p:txBody>
      </p:sp>
      <p:sp>
        <p:nvSpPr>
          <p:cNvPr id="8" name="Rounded Rectangle 7">
            <a:extLst>
              <a:ext uri="{FF2B5EF4-FFF2-40B4-BE49-F238E27FC236}">
                <a16:creationId xmlns:a16="http://schemas.microsoft.com/office/drawing/2014/main" id="{EFF4811E-EB31-25AF-6039-9858AF91489E}"/>
              </a:ext>
            </a:extLst>
          </p:cNvPr>
          <p:cNvSpPr/>
          <p:nvPr/>
        </p:nvSpPr>
        <p:spPr>
          <a:xfrm>
            <a:off x="1162382" y="1763504"/>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stablish Domains</a:t>
            </a:r>
          </a:p>
        </p:txBody>
      </p:sp>
      <p:sp>
        <p:nvSpPr>
          <p:cNvPr id="9" name="Rounded Rectangle 8">
            <a:extLst>
              <a:ext uri="{FF2B5EF4-FFF2-40B4-BE49-F238E27FC236}">
                <a16:creationId xmlns:a16="http://schemas.microsoft.com/office/drawing/2014/main" id="{999F0984-8DF3-B196-27BD-BF347BEFB621}"/>
              </a:ext>
            </a:extLst>
          </p:cNvPr>
          <p:cNvSpPr/>
          <p:nvPr/>
        </p:nvSpPr>
        <p:spPr>
          <a:xfrm>
            <a:off x="1162382" y="2360333"/>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stablish Collections</a:t>
            </a:r>
          </a:p>
        </p:txBody>
      </p:sp>
      <p:sp>
        <p:nvSpPr>
          <p:cNvPr id="10" name="Rounded Rectangle 9">
            <a:extLst>
              <a:ext uri="{FF2B5EF4-FFF2-40B4-BE49-F238E27FC236}">
                <a16:creationId xmlns:a16="http://schemas.microsoft.com/office/drawing/2014/main" id="{A6F724D0-81FD-CC25-DC48-17572C35D967}"/>
              </a:ext>
            </a:extLst>
          </p:cNvPr>
          <p:cNvSpPr/>
          <p:nvPr/>
        </p:nvSpPr>
        <p:spPr>
          <a:xfrm>
            <a:off x="1133606" y="2943722"/>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Register Sources</a:t>
            </a:r>
          </a:p>
        </p:txBody>
      </p:sp>
      <p:sp>
        <p:nvSpPr>
          <p:cNvPr id="11" name="Down Arrow 10">
            <a:extLst>
              <a:ext uri="{FF2B5EF4-FFF2-40B4-BE49-F238E27FC236}">
                <a16:creationId xmlns:a16="http://schemas.microsoft.com/office/drawing/2014/main" id="{4F453E81-CE09-5A39-06A3-CC41272FA766}"/>
              </a:ext>
            </a:extLst>
          </p:cNvPr>
          <p:cNvSpPr/>
          <p:nvPr/>
        </p:nvSpPr>
        <p:spPr>
          <a:xfrm>
            <a:off x="2226296" y="2194825"/>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own Arrow 11">
            <a:extLst>
              <a:ext uri="{FF2B5EF4-FFF2-40B4-BE49-F238E27FC236}">
                <a16:creationId xmlns:a16="http://schemas.microsoft.com/office/drawing/2014/main" id="{0995F144-A410-ED74-AEDD-4E93F7DB15DE}"/>
              </a:ext>
            </a:extLst>
          </p:cNvPr>
          <p:cNvSpPr/>
          <p:nvPr/>
        </p:nvSpPr>
        <p:spPr>
          <a:xfrm>
            <a:off x="2217669" y="2778214"/>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own Arrow 13">
            <a:extLst>
              <a:ext uri="{FF2B5EF4-FFF2-40B4-BE49-F238E27FC236}">
                <a16:creationId xmlns:a16="http://schemas.microsoft.com/office/drawing/2014/main" id="{1C0AAEAB-E2E8-8945-D08F-511BFE6B6D72}"/>
              </a:ext>
            </a:extLst>
          </p:cNvPr>
          <p:cNvSpPr/>
          <p:nvPr/>
        </p:nvSpPr>
        <p:spPr>
          <a:xfrm>
            <a:off x="2211908" y="3375043"/>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0BACBC5B-5ECD-4784-DFD8-15CEDA01B923}"/>
              </a:ext>
            </a:extLst>
          </p:cNvPr>
          <p:cNvSpPr/>
          <p:nvPr/>
        </p:nvSpPr>
        <p:spPr>
          <a:xfrm>
            <a:off x="6663160" y="1678904"/>
            <a:ext cx="2691384" cy="598675"/>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Establish Governance Domains</a:t>
            </a:r>
          </a:p>
        </p:txBody>
      </p:sp>
      <p:sp>
        <p:nvSpPr>
          <p:cNvPr id="16" name="Rounded Rectangle 15">
            <a:extLst>
              <a:ext uri="{FF2B5EF4-FFF2-40B4-BE49-F238E27FC236}">
                <a16:creationId xmlns:a16="http://schemas.microsoft.com/office/drawing/2014/main" id="{2A1A502C-F0DF-7D06-C6EB-F4B90FD15492}"/>
              </a:ext>
            </a:extLst>
          </p:cNvPr>
          <p:cNvSpPr/>
          <p:nvPr/>
        </p:nvSpPr>
        <p:spPr>
          <a:xfrm>
            <a:off x="6663160" y="2478877"/>
            <a:ext cx="2691384" cy="43132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DF9"/>
                </a:solidFill>
              </a:rPr>
              <a:t>Establish Data Products</a:t>
            </a:r>
          </a:p>
        </p:txBody>
      </p:sp>
      <p:sp>
        <p:nvSpPr>
          <p:cNvPr id="17" name="Down Arrow 16">
            <a:extLst>
              <a:ext uri="{FF2B5EF4-FFF2-40B4-BE49-F238E27FC236}">
                <a16:creationId xmlns:a16="http://schemas.microsoft.com/office/drawing/2014/main" id="{0CC05C15-4418-DDBE-6C81-ED0823EB1D2C}"/>
              </a:ext>
            </a:extLst>
          </p:cNvPr>
          <p:cNvSpPr/>
          <p:nvPr/>
        </p:nvSpPr>
        <p:spPr>
          <a:xfrm>
            <a:off x="7941273" y="2277579"/>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30D0A6CB-59AB-74E8-0002-49F1009ECE10}"/>
              </a:ext>
            </a:extLst>
          </p:cNvPr>
          <p:cNvSpPr/>
          <p:nvPr/>
        </p:nvSpPr>
        <p:spPr>
          <a:xfrm>
            <a:off x="6663160" y="3111497"/>
            <a:ext cx="2691384" cy="84380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Connect </a:t>
            </a:r>
            <a:r>
              <a:rPr lang="en-US" b="1" i="1" u="sng" dirty="0">
                <a:solidFill>
                  <a:srgbClr val="FFFF00"/>
                </a:solidFill>
              </a:rPr>
              <a:t>assets</a:t>
            </a:r>
            <a:r>
              <a:rPr lang="en-US" dirty="0">
                <a:solidFill>
                  <a:srgbClr val="FFFDF9"/>
                </a:solidFill>
              </a:rPr>
              <a:t> to Data Products -&gt; Governed assets</a:t>
            </a:r>
          </a:p>
        </p:txBody>
      </p:sp>
      <p:sp>
        <p:nvSpPr>
          <p:cNvPr id="19" name="Down Arrow 18">
            <a:extLst>
              <a:ext uri="{FF2B5EF4-FFF2-40B4-BE49-F238E27FC236}">
                <a16:creationId xmlns:a16="http://schemas.microsoft.com/office/drawing/2014/main" id="{4B7DFA29-CDB8-269A-A23C-FC17A1FB2E2B}"/>
              </a:ext>
            </a:extLst>
          </p:cNvPr>
          <p:cNvSpPr/>
          <p:nvPr/>
        </p:nvSpPr>
        <p:spPr>
          <a:xfrm>
            <a:off x="7941273" y="2914266"/>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99DC9B95-4F77-A7F4-944C-F16E09840C05}"/>
              </a:ext>
            </a:extLst>
          </p:cNvPr>
          <p:cNvSpPr/>
          <p:nvPr/>
        </p:nvSpPr>
        <p:spPr>
          <a:xfrm>
            <a:off x="6901790" y="4431775"/>
            <a:ext cx="2214124" cy="209965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Enhance data product</a:t>
            </a:r>
          </a:p>
          <a:p>
            <a:pPr algn="ctr"/>
            <a:endParaRPr lang="en-US" sz="700" dirty="0">
              <a:solidFill>
                <a:srgbClr val="FFFDF9"/>
              </a:solidFill>
            </a:endParaRPr>
          </a:p>
          <a:p>
            <a:pPr marL="171450" indent="-171450">
              <a:buFont typeface="Arial" panose="020B0604020202020204" pitchFamily="34" charset="0"/>
              <a:buChar char="•"/>
            </a:pPr>
            <a:r>
              <a:rPr lang="en-US" sz="1200" dirty="0">
                <a:solidFill>
                  <a:srgbClr val="FFFDF9"/>
                </a:solidFill>
              </a:rPr>
              <a:t>Owners</a:t>
            </a:r>
          </a:p>
          <a:p>
            <a:pPr marL="171450" indent="-171450">
              <a:buFont typeface="Arial" panose="020B0604020202020204" pitchFamily="34" charset="0"/>
              <a:buChar char="•"/>
            </a:pPr>
            <a:r>
              <a:rPr lang="en-US" sz="1200" dirty="0">
                <a:solidFill>
                  <a:srgbClr val="FFFDF9"/>
                </a:solidFill>
              </a:rPr>
              <a:t>Glossaries</a:t>
            </a:r>
          </a:p>
          <a:p>
            <a:pPr marL="171450" indent="-171450">
              <a:buFont typeface="Arial" panose="020B0604020202020204" pitchFamily="34" charset="0"/>
              <a:buChar char="•"/>
            </a:pPr>
            <a:r>
              <a:rPr lang="en-US" sz="1200" dirty="0">
                <a:solidFill>
                  <a:srgbClr val="FFFDF9"/>
                </a:solidFill>
              </a:rPr>
              <a:t>OKR</a:t>
            </a:r>
          </a:p>
          <a:p>
            <a:pPr marL="171450" indent="-171450">
              <a:buFont typeface="Arial" panose="020B0604020202020204" pitchFamily="34" charset="0"/>
              <a:buChar char="•"/>
            </a:pPr>
            <a:r>
              <a:rPr lang="en-US" sz="1200" dirty="0" err="1">
                <a:solidFill>
                  <a:srgbClr val="FFFDF9"/>
                </a:solidFill>
              </a:rPr>
              <a:t>Critial</a:t>
            </a:r>
            <a:r>
              <a:rPr lang="en-US" sz="1200" dirty="0">
                <a:solidFill>
                  <a:srgbClr val="FFFDF9"/>
                </a:solidFill>
              </a:rPr>
              <a:t> Data elements</a:t>
            </a:r>
          </a:p>
          <a:p>
            <a:pPr marL="171450" indent="-171450">
              <a:buFont typeface="Arial" panose="020B0604020202020204" pitchFamily="34" charset="0"/>
              <a:buChar char="•"/>
            </a:pPr>
            <a:r>
              <a:rPr lang="en-US" sz="1200" dirty="0">
                <a:solidFill>
                  <a:srgbClr val="FFFDF9"/>
                </a:solidFill>
              </a:rPr>
              <a:t>Data Access</a:t>
            </a:r>
          </a:p>
          <a:p>
            <a:pPr marL="171450" indent="-171450">
              <a:buFont typeface="Arial" panose="020B0604020202020204" pitchFamily="34" charset="0"/>
              <a:buChar char="•"/>
            </a:pPr>
            <a:endParaRPr lang="en-US" sz="1200" dirty="0">
              <a:solidFill>
                <a:srgbClr val="FFFDF9"/>
              </a:solidFill>
            </a:endParaRPr>
          </a:p>
        </p:txBody>
      </p:sp>
      <p:sp>
        <p:nvSpPr>
          <p:cNvPr id="21" name="Down Arrow 20">
            <a:extLst>
              <a:ext uri="{FF2B5EF4-FFF2-40B4-BE49-F238E27FC236}">
                <a16:creationId xmlns:a16="http://schemas.microsoft.com/office/drawing/2014/main" id="{AFA5368D-4492-30C0-2E8E-D0C86FAFA2BA}"/>
              </a:ext>
            </a:extLst>
          </p:cNvPr>
          <p:cNvSpPr/>
          <p:nvPr/>
        </p:nvSpPr>
        <p:spPr>
          <a:xfrm>
            <a:off x="7873694" y="3951233"/>
            <a:ext cx="135158" cy="480541"/>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AAEDCD3A-3026-2C14-E443-A2F5D398E477}"/>
              </a:ext>
            </a:extLst>
          </p:cNvPr>
          <p:cNvSpPr/>
          <p:nvPr/>
        </p:nvSpPr>
        <p:spPr>
          <a:xfrm>
            <a:off x="1162383" y="3587988"/>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stablish </a:t>
            </a:r>
            <a:r>
              <a:rPr lang="en-US" b="1" i="1" u="sng" dirty="0">
                <a:solidFill>
                  <a:srgbClr val="FFFF00"/>
                </a:solidFill>
              </a:rPr>
              <a:t>assets</a:t>
            </a:r>
          </a:p>
        </p:txBody>
      </p:sp>
      <p:sp>
        <p:nvSpPr>
          <p:cNvPr id="25" name="Rectangle 24">
            <a:extLst>
              <a:ext uri="{FF2B5EF4-FFF2-40B4-BE49-F238E27FC236}">
                <a16:creationId xmlns:a16="http://schemas.microsoft.com/office/drawing/2014/main" id="{D5C0A37A-E1BA-5B93-4E9E-998F27F3633C}"/>
              </a:ext>
            </a:extLst>
          </p:cNvPr>
          <p:cNvSpPr/>
          <p:nvPr/>
        </p:nvSpPr>
        <p:spPr>
          <a:xfrm>
            <a:off x="4589776" y="1678904"/>
            <a:ext cx="495946" cy="458166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2400"/>
              <a:t>Data Map</a:t>
            </a:r>
          </a:p>
        </p:txBody>
      </p:sp>
      <p:sp>
        <p:nvSpPr>
          <p:cNvPr id="26" name="Rectangle 25">
            <a:extLst>
              <a:ext uri="{FF2B5EF4-FFF2-40B4-BE49-F238E27FC236}">
                <a16:creationId xmlns:a16="http://schemas.microsoft.com/office/drawing/2014/main" id="{0AF0949D-FDDD-BB2F-5DFE-3F22CC9E4BC2}"/>
              </a:ext>
            </a:extLst>
          </p:cNvPr>
          <p:cNvSpPr/>
          <p:nvPr/>
        </p:nvSpPr>
        <p:spPr>
          <a:xfrm>
            <a:off x="5134394" y="1672579"/>
            <a:ext cx="495946" cy="45816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2400">
                <a:solidFill>
                  <a:srgbClr val="FFFDF9"/>
                </a:solidFill>
              </a:rPr>
              <a:t>Unified Catalog</a:t>
            </a:r>
          </a:p>
        </p:txBody>
      </p:sp>
      <p:sp>
        <p:nvSpPr>
          <p:cNvPr id="27" name="Down Arrow 26">
            <a:extLst>
              <a:ext uri="{FF2B5EF4-FFF2-40B4-BE49-F238E27FC236}">
                <a16:creationId xmlns:a16="http://schemas.microsoft.com/office/drawing/2014/main" id="{036C2D18-8C7D-949B-5A6C-6C69A4B43310}"/>
              </a:ext>
            </a:extLst>
          </p:cNvPr>
          <p:cNvSpPr/>
          <p:nvPr/>
        </p:nvSpPr>
        <p:spPr>
          <a:xfrm rot="5400000">
            <a:off x="4011726" y="3709733"/>
            <a:ext cx="789248" cy="50735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own Arrow 27">
            <a:extLst>
              <a:ext uri="{FF2B5EF4-FFF2-40B4-BE49-F238E27FC236}">
                <a16:creationId xmlns:a16="http://schemas.microsoft.com/office/drawing/2014/main" id="{17FAB29D-881E-F9C1-712E-EFFA0A84AFAE}"/>
              </a:ext>
            </a:extLst>
          </p:cNvPr>
          <p:cNvSpPr/>
          <p:nvPr/>
        </p:nvSpPr>
        <p:spPr>
          <a:xfrm rot="16200000">
            <a:off x="5459587" y="3728933"/>
            <a:ext cx="789248" cy="50735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a:extLst>
              <a:ext uri="{FF2B5EF4-FFF2-40B4-BE49-F238E27FC236}">
                <a16:creationId xmlns:a16="http://schemas.microsoft.com/office/drawing/2014/main" id="{0520237A-5E3A-D22C-DBCA-2373B7D4E0EF}"/>
              </a:ext>
            </a:extLst>
          </p:cNvPr>
          <p:cNvSpPr/>
          <p:nvPr/>
        </p:nvSpPr>
        <p:spPr>
          <a:xfrm>
            <a:off x="1105980" y="974532"/>
            <a:ext cx="2398144" cy="431321"/>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nstallation</a:t>
            </a:r>
          </a:p>
        </p:txBody>
      </p:sp>
      <p:sp>
        <p:nvSpPr>
          <p:cNvPr id="13" name="Down Arrow 12">
            <a:extLst>
              <a:ext uri="{FF2B5EF4-FFF2-40B4-BE49-F238E27FC236}">
                <a16:creationId xmlns:a16="http://schemas.microsoft.com/office/drawing/2014/main" id="{11155FCA-3E6F-4E4E-A836-B3A5F2AB7D09}"/>
              </a:ext>
            </a:extLst>
          </p:cNvPr>
          <p:cNvSpPr/>
          <p:nvPr/>
        </p:nvSpPr>
        <p:spPr>
          <a:xfrm rot="10800000" flipH="1" flipV="1">
            <a:off x="2173747" y="1338903"/>
            <a:ext cx="262609" cy="431321"/>
          </a:xfrm>
          <a:prstGeom prst="downArrow">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671B53FC-A64E-A070-367B-A4FC1572251B}"/>
              </a:ext>
            </a:extLst>
          </p:cNvPr>
          <p:cNvCxnSpPr>
            <a:cxnSpLocks/>
          </p:cNvCxnSpPr>
          <p:nvPr/>
        </p:nvCxnSpPr>
        <p:spPr>
          <a:xfrm flipH="1">
            <a:off x="3082565" y="3375043"/>
            <a:ext cx="4656841" cy="499373"/>
          </a:xfrm>
          <a:prstGeom prst="straightConnector1">
            <a:avLst/>
          </a:prstGeom>
          <a:ln w="25400">
            <a:solidFill>
              <a:srgbClr val="FF0000">
                <a:alpha val="50000"/>
              </a:srgb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Rounded Rectangle 28">
            <a:extLst>
              <a:ext uri="{FF2B5EF4-FFF2-40B4-BE49-F238E27FC236}">
                <a16:creationId xmlns:a16="http://schemas.microsoft.com/office/drawing/2014/main" id="{1D4D535F-E148-8EB6-9864-66CADA64AC3D}"/>
              </a:ext>
            </a:extLst>
          </p:cNvPr>
          <p:cNvSpPr/>
          <p:nvPr/>
        </p:nvSpPr>
        <p:spPr>
          <a:xfrm>
            <a:off x="9916358" y="4924554"/>
            <a:ext cx="1933903" cy="111409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dvanced</a:t>
            </a:r>
          </a:p>
          <a:p>
            <a:pPr algn="ctr"/>
            <a:r>
              <a:rPr lang="en-US" sz="1200" dirty="0"/>
              <a:t>Api’s</a:t>
            </a:r>
          </a:p>
          <a:p>
            <a:pPr algn="ctr"/>
            <a:r>
              <a:rPr lang="en-US" sz="1200" dirty="0"/>
              <a:t>Workflows</a:t>
            </a:r>
          </a:p>
          <a:p>
            <a:pPr algn="ctr"/>
            <a:r>
              <a:rPr lang="en-US" sz="1200" dirty="0"/>
              <a:t>Enforcement of rights</a:t>
            </a:r>
          </a:p>
        </p:txBody>
      </p:sp>
    </p:spTree>
    <p:extLst>
      <p:ext uri="{BB962C8B-B14F-4D97-AF65-F5344CB8AC3E}">
        <p14:creationId xmlns:p14="http://schemas.microsoft.com/office/powerpoint/2010/main" val="8408506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8AB45E-08EF-B844-970F-0ABD9F73540F}"/>
              </a:ext>
            </a:extLst>
          </p:cNvPr>
          <p:cNvSpPr>
            <a:spLocks noGrp="1"/>
          </p:cNvSpPr>
          <p:nvPr>
            <p:ph type="body" sz="quarter" idx="4294967295"/>
          </p:nvPr>
        </p:nvSpPr>
        <p:spPr>
          <a:xfrm>
            <a:off x="7208871" y="2384897"/>
            <a:ext cx="4084942" cy="2566481"/>
          </a:xfrm>
          <a:prstGeom prst="rect">
            <a:avLst/>
          </a:prstGeom>
        </p:spPr>
        <p:txBody>
          <a:bodyPr/>
          <a:lstStyle/>
          <a:p>
            <a:pPr marL="0" indent="0">
              <a:buNone/>
            </a:pPr>
            <a:r>
              <a:rPr lang="en-GB" sz="4000">
                <a:solidFill>
                  <a:schemeClr val="bg1"/>
                </a:solidFill>
              </a:rPr>
              <a:t>Installation</a:t>
            </a:r>
            <a:endParaRPr lang="en-DK" sz="4000">
              <a:solidFill>
                <a:schemeClr val="bg1"/>
              </a:solidFill>
            </a:endParaRPr>
          </a:p>
        </p:txBody>
      </p:sp>
    </p:spTree>
    <p:extLst>
      <p:ext uri="{BB962C8B-B14F-4D97-AF65-F5344CB8AC3E}">
        <p14:creationId xmlns:p14="http://schemas.microsoft.com/office/powerpoint/2010/main" val="30540781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932C949-C994-6DBE-2FA7-A6C824089FE9}"/>
              </a:ext>
            </a:extLst>
          </p:cNvPr>
          <p:cNvSpPr txBox="1"/>
          <p:nvPr/>
        </p:nvSpPr>
        <p:spPr>
          <a:xfrm>
            <a:off x="1143000" y="1894114"/>
            <a:ext cx="5619872" cy="923330"/>
          </a:xfrm>
          <a:prstGeom prst="rect">
            <a:avLst/>
          </a:prstGeom>
          <a:noFill/>
        </p:spPr>
        <p:txBody>
          <a:bodyPr wrap="none" rtlCol="0">
            <a:spAutoFit/>
          </a:bodyPr>
          <a:lstStyle/>
          <a:p>
            <a:r>
              <a:rPr lang="en-US"/>
              <a:t>Note</a:t>
            </a:r>
          </a:p>
          <a:p>
            <a:endParaRPr lang="en-US"/>
          </a:p>
          <a:p>
            <a:r>
              <a:rPr lang="en-US"/>
              <a:t>The new Purview Portal can only exist </a:t>
            </a:r>
            <a:r>
              <a:rPr lang="en-US" b="1">
                <a:solidFill>
                  <a:schemeClr val="accent1">
                    <a:lumMod val="50000"/>
                  </a:schemeClr>
                </a:solidFill>
              </a:rPr>
              <a:t>once</a:t>
            </a:r>
            <a:r>
              <a:rPr lang="en-US"/>
              <a:t> per tenant.</a:t>
            </a:r>
          </a:p>
        </p:txBody>
      </p:sp>
      <p:sp>
        <p:nvSpPr>
          <p:cNvPr id="3" name="TextBox 2">
            <a:extLst>
              <a:ext uri="{FF2B5EF4-FFF2-40B4-BE49-F238E27FC236}">
                <a16:creationId xmlns:a16="http://schemas.microsoft.com/office/drawing/2014/main" id="{522800DA-8733-C81B-FD08-9E14079E6DB3}"/>
              </a:ext>
            </a:extLst>
          </p:cNvPr>
          <p:cNvSpPr txBox="1"/>
          <p:nvPr/>
        </p:nvSpPr>
        <p:spPr>
          <a:xfrm>
            <a:off x="1143000" y="3635828"/>
            <a:ext cx="4998484" cy="646331"/>
          </a:xfrm>
          <a:prstGeom prst="rect">
            <a:avLst/>
          </a:prstGeom>
          <a:noFill/>
        </p:spPr>
        <p:txBody>
          <a:bodyPr wrap="none" rtlCol="0">
            <a:spAutoFit/>
          </a:bodyPr>
          <a:lstStyle/>
          <a:p>
            <a:r>
              <a:rPr lang="en-US" dirty="0"/>
              <a:t>If you already have one – or more – instances of </a:t>
            </a:r>
            <a:br>
              <a:rPr lang="en-US" dirty="0"/>
            </a:br>
            <a:r>
              <a:rPr lang="en-US" dirty="0"/>
              <a:t>Purview click </a:t>
            </a:r>
            <a:r>
              <a:rPr lang="en-US" dirty="0">
                <a:hlinkClick r:id="rId2"/>
              </a:rPr>
              <a:t>here</a:t>
            </a:r>
            <a:r>
              <a:rPr lang="en-US" dirty="0"/>
              <a:t> otherwise continue.</a:t>
            </a:r>
          </a:p>
        </p:txBody>
      </p:sp>
      <p:sp>
        <p:nvSpPr>
          <p:cNvPr id="4" name="TextBox 3">
            <a:extLst>
              <a:ext uri="{FF2B5EF4-FFF2-40B4-BE49-F238E27FC236}">
                <a16:creationId xmlns:a16="http://schemas.microsoft.com/office/drawing/2014/main" id="{798431B4-71D5-9CB8-AE8C-E4A4639D47F1}"/>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23329592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CB67E2-23D6-5C42-9257-5E27C7908B9C}"/>
              </a:ext>
            </a:extLst>
          </p:cNvPr>
          <p:cNvSpPr txBox="1"/>
          <p:nvPr/>
        </p:nvSpPr>
        <p:spPr>
          <a:xfrm>
            <a:off x="870858" y="696686"/>
            <a:ext cx="8760540" cy="4801314"/>
          </a:xfrm>
          <a:prstGeom prst="rect">
            <a:avLst/>
          </a:prstGeom>
          <a:noFill/>
        </p:spPr>
        <p:txBody>
          <a:bodyPr wrap="none" rtlCol="0">
            <a:spAutoFit/>
          </a:bodyPr>
          <a:lstStyle/>
          <a:p>
            <a:r>
              <a:rPr lang="en-US" b="1" dirty="0"/>
              <a:t>Requirement</a:t>
            </a:r>
          </a:p>
          <a:p>
            <a:endParaRPr lang="en-US" dirty="0"/>
          </a:p>
          <a:p>
            <a:r>
              <a:rPr lang="en-US" dirty="0"/>
              <a:t>The user account that you use to sign in to Azure must be a member of the </a:t>
            </a:r>
            <a:br>
              <a:rPr lang="en-US" dirty="0"/>
            </a:br>
            <a:r>
              <a:rPr lang="en-US" b="1" i="1" dirty="0">
                <a:solidFill>
                  <a:schemeClr val="bg1"/>
                </a:solidFill>
              </a:rPr>
              <a:t>contributor</a:t>
            </a:r>
            <a:r>
              <a:rPr lang="en-US" dirty="0"/>
              <a:t> or </a:t>
            </a:r>
            <a:r>
              <a:rPr lang="en-US" b="1" i="1" dirty="0">
                <a:solidFill>
                  <a:schemeClr val="bg1"/>
                </a:solidFill>
              </a:rPr>
              <a:t>owner</a:t>
            </a:r>
            <a:r>
              <a:rPr lang="en-US" dirty="0"/>
              <a:t> role, or an </a:t>
            </a:r>
            <a:r>
              <a:rPr lang="en-US" b="1" i="1" dirty="0">
                <a:solidFill>
                  <a:schemeClr val="bg1"/>
                </a:solidFill>
              </a:rPr>
              <a:t>administrator</a:t>
            </a:r>
            <a:r>
              <a:rPr lang="en-US" dirty="0"/>
              <a:t> of the Azure subscription being used for</a:t>
            </a:r>
            <a:br>
              <a:rPr lang="en-US" dirty="0"/>
            </a:br>
            <a:r>
              <a:rPr lang="en-US" dirty="0"/>
              <a:t>Purview.</a:t>
            </a:r>
            <a:br>
              <a:rPr lang="en-US" dirty="0"/>
            </a:br>
            <a:br>
              <a:rPr lang="en-US" dirty="0"/>
            </a:br>
            <a:r>
              <a:rPr lang="en-US" dirty="0"/>
              <a:t>To view the permissions that you have in the subscription, follow these steps:</a:t>
            </a:r>
          </a:p>
          <a:p>
            <a:pPr marL="285750" indent="-285750">
              <a:buFont typeface="Arial" panose="020B0604020202020204" pitchFamily="34" charset="0"/>
              <a:buChar char="•"/>
            </a:pPr>
            <a:r>
              <a:rPr lang="en-US" dirty="0"/>
              <a:t>Go to the </a:t>
            </a:r>
            <a:r>
              <a:rPr lang="en-US" dirty="0">
                <a:hlinkClick r:id="rId2"/>
              </a:rPr>
              <a:t>Azure portal</a:t>
            </a:r>
            <a:endParaRPr lang="en-US" dirty="0"/>
          </a:p>
          <a:p>
            <a:pPr marL="285750" indent="-285750">
              <a:buFont typeface="Arial" panose="020B0604020202020204" pitchFamily="34" charset="0"/>
              <a:buChar char="•"/>
            </a:pPr>
            <a:r>
              <a:rPr lang="en-US" dirty="0"/>
              <a:t>Select your username in the upper-right corner.</a:t>
            </a:r>
          </a:p>
          <a:p>
            <a:pPr marL="285750" indent="-285750">
              <a:buFont typeface="Arial" panose="020B0604020202020204" pitchFamily="34" charset="0"/>
              <a:buChar char="•"/>
            </a:pPr>
            <a:r>
              <a:rPr lang="en-US" dirty="0"/>
              <a:t>Select the ellipsis button ("</a:t>
            </a:r>
            <a:r>
              <a:rPr lang="en-US" b="1" dirty="0"/>
              <a:t>...</a:t>
            </a:r>
            <a:r>
              <a:rPr lang="en-US" dirty="0"/>
              <a:t>") for more options.</a:t>
            </a:r>
          </a:p>
          <a:p>
            <a:pPr marL="285750" indent="-285750">
              <a:buFont typeface="Arial" panose="020B0604020202020204" pitchFamily="34" charset="0"/>
              <a:buChar char="•"/>
            </a:pPr>
            <a:r>
              <a:rPr lang="en-US" dirty="0"/>
              <a:t>Then select </a:t>
            </a:r>
            <a:r>
              <a:rPr lang="en-US" b="1" dirty="0"/>
              <a:t>My permissions</a:t>
            </a:r>
            <a:r>
              <a:rPr lang="en-US" dirty="0"/>
              <a:t>.</a:t>
            </a:r>
          </a:p>
          <a:p>
            <a:pPr marL="285750" indent="-285750">
              <a:buFont typeface="Arial" panose="020B0604020202020204" pitchFamily="34" charset="0"/>
              <a:buChar char="•"/>
            </a:pPr>
            <a:r>
              <a:rPr lang="en-US" dirty="0"/>
              <a:t>If you have access to multiple subscriptions, select the appropriate subscription.</a:t>
            </a:r>
          </a:p>
          <a:p>
            <a:br>
              <a:rPr lang="en-US" dirty="0"/>
            </a:br>
            <a:endParaRPr lang="en-US" dirty="0"/>
          </a:p>
          <a:p>
            <a:r>
              <a:rPr lang="en-US" b="1" dirty="0"/>
              <a:t>Step 1 - Suggested pre-requisite</a:t>
            </a:r>
          </a:p>
          <a:p>
            <a:endParaRPr lang="en-US" dirty="0"/>
          </a:p>
          <a:p>
            <a:r>
              <a:rPr lang="en-US" dirty="0"/>
              <a:t>Create a standalone subscription for Purview</a:t>
            </a:r>
          </a:p>
        </p:txBody>
      </p:sp>
      <p:sp>
        <p:nvSpPr>
          <p:cNvPr id="3" name="TextBox 2">
            <a:extLst>
              <a:ext uri="{FF2B5EF4-FFF2-40B4-BE49-F238E27FC236}">
                <a16:creationId xmlns:a16="http://schemas.microsoft.com/office/drawing/2014/main" id="{AA0DF8F0-F7E2-2ADB-8D64-845E37356366}"/>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764181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A2060-3F4D-127E-D821-644855F514C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F3C2698-E852-EBA4-FD10-EB15C5566303}"/>
              </a:ext>
            </a:extLst>
          </p:cNvPr>
          <p:cNvSpPr txBox="1"/>
          <p:nvPr/>
        </p:nvSpPr>
        <p:spPr>
          <a:xfrm>
            <a:off x="794658" y="734767"/>
            <a:ext cx="4996496" cy="369332"/>
          </a:xfrm>
          <a:prstGeom prst="rect">
            <a:avLst/>
          </a:prstGeom>
          <a:noFill/>
        </p:spPr>
        <p:txBody>
          <a:bodyPr wrap="none" rtlCol="0">
            <a:spAutoFit/>
          </a:bodyPr>
          <a:lstStyle/>
          <a:p>
            <a:r>
              <a:rPr lang="en-US" b="1"/>
              <a:t>Step 2 – Establish </a:t>
            </a:r>
            <a:r>
              <a:rPr lang="en-US" b="1">
                <a:solidFill>
                  <a:schemeClr val="accent1">
                    <a:lumMod val="50000"/>
                  </a:schemeClr>
                </a:solidFill>
              </a:rPr>
              <a:t>Purview</a:t>
            </a:r>
            <a:r>
              <a:rPr lang="en-US" b="1"/>
              <a:t> using the </a:t>
            </a:r>
            <a:r>
              <a:rPr lang="en-US" b="1">
                <a:solidFill>
                  <a:schemeClr val="accent1">
                    <a:lumMod val="50000"/>
                  </a:schemeClr>
                </a:solidFill>
              </a:rPr>
              <a:t>Azure Portal</a:t>
            </a:r>
          </a:p>
        </p:txBody>
      </p:sp>
      <p:pic>
        <p:nvPicPr>
          <p:cNvPr id="4" name="Picture 3">
            <a:extLst>
              <a:ext uri="{FF2B5EF4-FFF2-40B4-BE49-F238E27FC236}">
                <a16:creationId xmlns:a16="http://schemas.microsoft.com/office/drawing/2014/main" id="{E6B0D2F0-7F40-B5F8-90B9-CBAABC62643A}"/>
              </a:ext>
            </a:extLst>
          </p:cNvPr>
          <p:cNvPicPr>
            <a:picLocks noChangeAspect="1"/>
          </p:cNvPicPr>
          <p:nvPr/>
        </p:nvPicPr>
        <p:blipFill>
          <a:blip r:embed="rId2"/>
          <a:stretch>
            <a:fillRect/>
          </a:stretch>
        </p:blipFill>
        <p:spPr>
          <a:xfrm>
            <a:off x="870858" y="1607573"/>
            <a:ext cx="7772400" cy="2324901"/>
          </a:xfrm>
          <a:prstGeom prst="rect">
            <a:avLst/>
          </a:prstGeom>
        </p:spPr>
      </p:pic>
      <p:sp>
        <p:nvSpPr>
          <p:cNvPr id="5" name="TextBox 4">
            <a:extLst>
              <a:ext uri="{FF2B5EF4-FFF2-40B4-BE49-F238E27FC236}">
                <a16:creationId xmlns:a16="http://schemas.microsoft.com/office/drawing/2014/main" id="{C2B3C731-EDD3-BD6E-3570-1D896FE1FD3E}"/>
              </a:ext>
            </a:extLst>
          </p:cNvPr>
          <p:cNvSpPr txBox="1"/>
          <p:nvPr/>
        </p:nvSpPr>
        <p:spPr>
          <a:xfrm>
            <a:off x="794658" y="4191000"/>
            <a:ext cx="5945795" cy="923330"/>
          </a:xfrm>
          <a:prstGeom prst="rect">
            <a:avLst/>
          </a:prstGeom>
          <a:noFill/>
        </p:spPr>
        <p:txBody>
          <a:bodyPr wrap="none" rtlCol="0">
            <a:spAutoFit/>
          </a:bodyPr>
          <a:lstStyle/>
          <a:p>
            <a:pPr marL="285750" indent="-285750">
              <a:buFont typeface="Arial" panose="020B0604020202020204" pitchFamily="34" charset="0"/>
              <a:buChar char="•"/>
            </a:pPr>
            <a:r>
              <a:rPr lang="en-US"/>
              <a:t>Search for </a:t>
            </a:r>
            <a:r>
              <a:rPr lang="en-US" b="1">
                <a:solidFill>
                  <a:schemeClr val="bg1"/>
                </a:solidFill>
              </a:rPr>
              <a:t>purview </a:t>
            </a:r>
            <a:r>
              <a:rPr lang="en-US"/>
              <a:t>in the search bar of the Azure Portal</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Select </a:t>
            </a:r>
            <a:r>
              <a:rPr lang="en-US" b="1">
                <a:solidFill>
                  <a:schemeClr val="bg1"/>
                </a:solidFill>
              </a:rPr>
              <a:t>Microsoft Purview accounts </a:t>
            </a:r>
            <a:r>
              <a:rPr lang="en-US"/>
              <a:t>from the result list</a:t>
            </a:r>
          </a:p>
        </p:txBody>
      </p:sp>
      <p:sp>
        <p:nvSpPr>
          <p:cNvPr id="6" name="Oval 5">
            <a:extLst>
              <a:ext uri="{FF2B5EF4-FFF2-40B4-BE49-F238E27FC236}">
                <a16:creationId xmlns:a16="http://schemas.microsoft.com/office/drawing/2014/main" id="{56F31DA8-C386-9F75-DB4D-AE9AE1139694}"/>
              </a:ext>
            </a:extLst>
          </p:cNvPr>
          <p:cNvSpPr/>
          <p:nvPr/>
        </p:nvSpPr>
        <p:spPr>
          <a:xfrm>
            <a:off x="4419600" y="2100943"/>
            <a:ext cx="1534886" cy="457200"/>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5AD2B6E8-6F51-43E5-4B29-F74A3152FBCE}"/>
              </a:ext>
            </a:extLst>
          </p:cNvPr>
          <p:cNvSpPr/>
          <p:nvPr/>
        </p:nvSpPr>
        <p:spPr>
          <a:xfrm>
            <a:off x="4757058" y="2770023"/>
            <a:ext cx="1796143" cy="696686"/>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E86B7A2-5086-15F2-9618-6840032CE980}"/>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7125843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43C0E-171A-27C7-2F10-B1B12D314B5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941A3A0-94E6-CC82-035F-218223385A30}"/>
              </a:ext>
            </a:extLst>
          </p:cNvPr>
          <p:cNvSpPr txBox="1"/>
          <p:nvPr/>
        </p:nvSpPr>
        <p:spPr>
          <a:xfrm>
            <a:off x="870858" y="696686"/>
            <a:ext cx="5631413" cy="369332"/>
          </a:xfrm>
          <a:prstGeom prst="rect">
            <a:avLst/>
          </a:prstGeom>
          <a:noFill/>
        </p:spPr>
        <p:txBody>
          <a:bodyPr wrap="none" rtlCol="0">
            <a:spAutoFit/>
          </a:bodyPr>
          <a:lstStyle/>
          <a:p>
            <a:r>
              <a:rPr lang="en-US" b="1"/>
              <a:t>Step 3 – Choose </a:t>
            </a:r>
            <a:r>
              <a:rPr lang="en-US" b="1">
                <a:solidFill>
                  <a:schemeClr val="accent1">
                    <a:lumMod val="50000"/>
                  </a:schemeClr>
                </a:solidFill>
              </a:rPr>
              <a:t>Create</a:t>
            </a:r>
            <a:r>
              <a:rPr lang="en-US" b="1"/>
              <a:t> on the Purview Account screen</a:t>
            </a:r>
          </a:p>
        </p:txBody>
      </p:sp>
      <p:pic>
        <p:nvPicPr>
          <p:cNvPr id="6" name="Picture 5">
            <a:extLst>
              <a:ext uri="{FF2B5EF4-FFF2-40B4-BE49-F238E27FC236}">
                <a16:creationId xmlns:a16="http://schemas.microsoft.com/office/drawing/2014/main" id="{9A2CA1C9-1AAA-E521-B4B2-945CFF2F5319}"/>
              </a:ext>
            </a:extLst>
          </p:cNvPr>
          <p:cNvPicPr>
            <a:picLocks noChangeAspect="1"/>
          </p:cNvPicPr>
          <p:nvPr/>
        </p:nvPicPr>
        <p:blipFill>
          <a:blip r:embed="rId2"/>
          <a:stretch>
            <a:fillRect/>
          </a:stretch>
        </p:blipFill>
        <p:spPr>
          <a:xfrm>
            <a:off x="870858" y="1309068"/>
            <a:ext cx="9221008" cy="4068475"/>
          </a:xfrm>
          <a:prstGeom prst="rect">
            <a:avLst/>
          </a:prstGeom>
        </p:spPr>
      </p:pic>
      <p:sp>
        <p:nvSpPr>
          <p:cNvPr id="7" name="Oval 6">
            <a:extLst>
              <a:ext uri="{FF2B5EF4-FFF2-40B4-BE49-F238E27FC236}">
                <a16:creationId xmlns:a16="http://schemas.microsoft.com/office/drawing/2014/main" id="{265EE934-0CEE-14C9-8C73-595FCE7FE0AD}"/>
              </a:ext>
            </a:extLst>
          </p:cNvPr>
          <p:cNvSpPr/>
          <p:nvPr/>
        </p:nvSpPr>
        <p:spPr>
          <a:xfrm>
            <a:off x="5932714" y="4604657"/>
            <a:ext cx="1796143" cy="696686"/>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DBAF8D72-F486-D6D1-851B-B5FC65D1C354}"/>
              </a:ext>
            </a:extLst>
          </p:cNvPr>
          <p:cNvSpPr/>
          <p:nvPr/>
        </p:nvSpPr>
        <p:spPr>
          <a:xfrm>
            <a:off x="435429" y="1829973"/>
            <a:ext cx="1403448" cy="369332"/>
          </a:xfrm>
          <a:prstGeom prst="ellipse">
            <a:avLst/>
          </a:prstGeom>
          <a:noFill/>
          <a:ln w="25400">
            <a:solidFill>
              <a:srgbClr val="FF000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EE4C067-1D0E-5126-7C91-523C0941AF28}"/>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706335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3C2E9C-180D-AAB4-6A33-F3E3F88B0231}"/>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5CB71EE9-826E-9BEE-5DB6-5E6F4619895B}"/>
              </a:ext>
            </a:extLst>
          </p:cNvPr>
          <p:cNvSpPr txBox="1"/>
          <p:nvPr/>
        </p:nvSpPr>
        <p:spPr>
          <a:xfrm>
            <a:off x="914401" y="790766"/>
            <a:ext cx="5045805" cy="369332"/>
          </a:xfrm>
          <a:prstGeom prst="rect">
            <a:avLst/>
          </a:prstGeom>
          <a:noFill/>
        </p:spPr>
        <p:txBody>
          <a:bodyPr wrap="none" rtlCol="0">
            <a:spAutoFit/>
          </a:bodyPr>
          <a:lstStyle/>
          <a:p>
            <a:r>
              <a:rPr lang="en-US" b="1"/>
              <a:t>Step 4 – Fill out the information on the </a:t>
            </a:r>
            <a:r>
              <a:rPr lang="en-US" b="1">
                <a:solidFill>
                  <a:schemeClr val="accent1">
                    <a:lumMod val="50000"/>
                  </a:schemeClr>
                </a:solidFill>
              </a:rPr>
              <a:t>Basics</a:t>
            </a:r>
            <a:r>
              <a:rPr lang="en-US" b="1"/>
              <a:t> tab</a:t>
            </a:r>
          </a:p>
        </p:txBody>
      </p:sp>
      <p:pic>
        <p:nvPicPr>
          <p:cNvPr id="4" name="Picture 3">
            <a:extLst>
              <a:ext uri="{FF2B5EF4-FFF2-40B4-BE49-F238E27FC236}">
                <a16:creationId xmlns:a16="http://schemas.microsoft.com/office/drawing/2014/main" id="{445A6EC7-B34D-EFDB-D4B6-5FD974E1CD9D}"/>
              </a:ext>
            </a:extLst>
          </p:cNvPr>
          <p:cNvPicPr>
            <a:picLocks noChangeAspect="1"/>
          </p:cNvPicPr>
          <p:nvPr/>
        </p:nvPicPr>
        <p:blipFill>
          <a:blip r:embed="rId3"/>
          <a:stretch>
            <a:fillRect/>
          </a:stretch>
        </p:blipFill>
        <p:spPr>
          <a:xfrm>
            <a:off x="914401" y="1199359"/>
            <a:ext cx="7316982" cy="5027270"/>
          </a:xfrm>
          <a:prstGeom prst="rect">
            <a:avLst/>
          </a:prstGeom>
        </p:spPr>
      </p:pic>
      <p:sp>
        <p:nvSpPr>
          <p:cNvPr id="5" name="TextBox 4">
            <a:extLst>
              <a:ext uri="{FF2B5EF4-FFF2-40B4-BE49-F238E27FC236}">
                <a16:creationId xmlns:a16="http://schemas.microsoft.com/office/drawing/2014/main" id="{6472A02F-0081-187E-9342-8131479E7CDF}"/>
              </a:ext>
            </a:extLst>
          </p:cNvPr>
          <p:cNvSpPr txBox="1"/>
          <p:nvPr/>
        </p:nvSpPr>
        <p:spPr>
          <a:xfrm>
            <a:off x="6406520" y="2420332"/>
            <a:ext cx="4587090" cy="2585323"/>
          </a:xfrm>
          <a:prstGeom prst="rect">
            <a:avLst/>
          </a:prstGeom>
          <a:noFill/>
        </p:spPr>
        <p:txBody>
          <a:bodyPr wrap="none" rtlCol="0">
            <a:spAutoFit/>
          </a:bodyPr>
          <a:lstStyle/>
          <a:p>
            <a:pPr marL="285750" indent="-285750">
              <a:buFont typeface="Arial" panose="020B0604020202020204" pitchFamily="34" charset="0"/>
              <a:buChar char="•"/>
            </a:pPr>
            <a:r>
              <a:rPr lang="en-US"/>
              <a:t>Choose the </a:t>
            </a:r>
            <a:r>
              <a:rPr lang="en-US" b="1">
                <a:solidFill>
                  <a:schemeClr val="accent1">
                    <a:lumMod val="50000"/>
                  </a:schemeClr>
                </a:solidFill>
              </a:rPr>
              <a:t>subscription</a:t>
            </a:r>
            <a:r>
              <a:rPr lang="en-US"/>
              <a:t> of choice</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hoose or create a new </a:t>
            </a:r>
            <a:r>
              <a:rPr lang="en-US" b="1">
                <a:solidFill>
                  <a:schemeClr val="accent1">
                    <a:lumMod val="50000"/>
                  </a:schemeClr>
                </a:solidFill>
              </a:rPr>
              <a:t>Resource group</a:t>
            </a:r>
            <a:br>
              <a:rPr lang="en-US"/>
            </a:br>
            <a:r>
              <a:rPr lang="en-US"/>
              <a:t>Suggestion: Purview should be in its own </a:t>
            </a:r>
            <a:br>
              <a:rPr lang="en-US"/>
            </a:br>
            <a:r>
              <a:rPr lang="en-US"/>
              <a:t>Resource Group</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Give your Purview instance a </a:t>
            </a:r>
            <a:r>
              <a:rPr lang="en-US" b="1">
                <a:solidFill>
                  <a:schemeClr val="accent1">
                    <a:lumMod val="50000"/>
                  </a:schemeClr>
                </a:solidFill>
              </a:rPr>
              <a:t>Name</a:t>
            </a:r>
            <a:r>
              <a:rPr lang="en-US">
                <a:solidFill>
                  <a:schemeClr val="accent1">
                    <a:lumMod val="50000"/>
                  </a:schemeClr>
                </a:solidFill>
              </a:rPr>
              <a:t>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hoose your desired Azure </a:t>
            </a:r>
            <a:r>
              <a:rPr lang="en-US" b="1">
                <a:solidFill>
                  <a:schemeClr val="accent1">
                    <a:lumMod val="50000"/>
                  </a:schemeClr>
                </a:solidFill>
              </a:rPr>
              <a:t>Location</a:t>
            </a:r>
          </a:p>
        </p:txBody>
      </p:sp>
      <p:cxnSp>
        <p:nvCxnSpPr>
          <p:cNvPr id="8" name="Straight Arrow Connector 7">
            <a:extLst>
              <a:ext uri="{FF2B5EF4-FFF2-40B4-BE49-F238E27FC236}">
                <a16:creationId xmlns:a16="http://schemas.microsoft.com/office/drawing/2014/main" id="{B41AA686-1C5B-C295-240A-E29785287F00}"/>
              </a:ext>
            </a:extLst>
          </p:cNvPr>
          <p:cNvCxnSpPr>
            <a:cxnSpLocks/>
          </p:cNvCxnSpPr>
          <p:nvPr/>
        </p:nvCxnSpPr>
        <p:spPr>
          <a:xfrm flipH="1">
            <a:off x="5508171" y="2656114"/>
            <a:ext cx="898349" cy="468086"/>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3F3851C-6B4E-63FF-A84A-9A1A6E7B96BB}"/>
              </a:ext>
            </a:extLst>
          </p:cNvPr>
          <p:cNvCxnSpPr>
            <a:cxnSpLocks/>
          </p:cNvCxnSpPr>
          <p:nvPr/>
        </p:nvCxnSpPr>
        <p:spPr>
          <a:xfrm flipH="1">
            <a:off x="5508171" y="3163461"/>
            <a:ext cx="816429" cy="234043"/>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DCA6C7E2-C5D1-0E4A-003A-FA02CB90728A}"/>
              </a:ext>
            </a:extLst>
          </p:cNvPr>
          <p:cNvCxnSpPr>
            <a:cxnSpLocks/>
          </p:cNvCxnSpPr>
          <p:nvPr/>
        </p:nvCxnSpPr>
        <p:spPr>
          <a:xfrm flipH="1" flipV="1">
            <a:off x="5508171" y="4051303"/>
            <a:ext cx="898349" cy="141470"/>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6DA2898-C736-DF76-31B2-E340610D44AD}"/>
              </a:ext>
            </a:extLst>
          </p:cNvPr>
          <p:cNvCxnSpPr>
            <a:cxnSpLocks/>
          </p:cNvCxnSpPr>
          <p:nvPr/>
        </p:nvCxnSpPr>
        <p:spPr>
          <a:xfrm flipH="1" flipV="1">
            <a:off x="5508171" y="4345173"/>
            <a:ext cx="898349" cy="411884"/>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CB186FE-7B26-B139-5551-ACC6355588DA}"/>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814116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9EAB8-5483-64AA-2ADF-40E4D7A666C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1E5CAE9-A826-3A36-4E07-2A3CA9B39E3E}"/>
              </a:ext>
            </a:extLst>
          </p:cNvPr>
          <p:cNvSpPr txBox="1"/>
          <p:nvPr/>
        </p:nvSpPr>
        <p:spPr>
          <a:xfrm>
            <a:off x="914401" y="790766"/>
            <a:ext cx="6730240" cy="369332"/>
          </a:xfrm>
          <a:prstGeom prst="rect">
            <a:avLst/>
          </a:prstGeom>
          <a:noFill/>
        </p:spPr>
        <p:txBody>
          <a:bodyPr wrap="none" rtlCol="0">
            <a:spAutoFit/>
          </a:bodyPr>
          <a:lstStyle/>
          <a:p>
            <a:r>
              <a:rPr lang="en-US" b="1"/>
              <a:t>Step 4 – If needed change the information on the </a:t>
            </a:r>
            <a:r>
              <a:rPr lang="en-US" b="1">
                <a:solidFill>
                  <a:schemeClr val="accent1">
                    <a:lumMod val="50000"/>
                  </a:schemeClr>
                </a:solidFill>
              </a:rPr>
              <a:t>Networking</a:t>
            </a:r>
            <a:r>
              <a:rPr lang="en-US" b="1"/>
              <a:t> tab</a:t>
            </a:r>
          </a:p>
        </p:txBody>
      </p:sp>
      <p:cxnSp>
        <p:nvCxnSpPr>
          <p:cNvPr id="8" name="Straight Arrow Connector 7">
            <a:extLst>
              <a:ext uri="{FF2B5EF4-FFF2-40B4-BE49-F238E27FC236}">
                <a16:creationId xmlns:a16="http://schemas.microsoft.com/office/drawing/2014/main" id="{D61DB5CE-615B-487C-ADC2-CD306DABD185}"/>
              </a:ext>
            </a:extLst>
          </p:cNvPr>
          <p:cNvCxnSpPr>
            <a:cxnSpLocks/>
          </p:cNvCxnSpPr>
          <p:nvPr/>
        </p:nvCxnSpPr>
        <p:spPr>
          <a:xfrm flipH="1">
            <a:off x="5508171" y="2656114"/>
            <a:ext cx="898349" cy="468086"/>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D5DA77C-2F9A-701D-651A-E0A003BF9C0B}"/>
              </a:ext>
            </a:extLst>
          </p:cNvPr>
          <p:cNvCxnSpPr>
            <a:cxnSpLocks/>
          </p:cNvCxnSpPr>
          <p:nvPr/>
        </p:nvCxnSpPr>
        <p:spPr>
          <a:xfrm flipH="1">
            <a:off x="5508171" y="3163461"/>
            <a:ext cx="816429" cy="234043"/>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5A63058-2DEB-39F2-0C15-07DDB9E833FD}"/>
              </a:ext>
            </a:extLst>
          </p:cNvPr>
          <p:cNvCxnSpPr>
            <a:cxnSpLocks/>
          </p:cNvCxnSpPr>
          <p:nvPr/>
        </p:nvCxnSpPr>
        <p:spPr>
          <a:xfrm flipH="1" flipV="1">
            <a:off x="5508171" y="4051303"/>
            <a:ext cx="898349" cy="14147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46282B0-FBA8-2A46-BF4B-7575E41C9A99}"/>
              </a:ext>
            </a:extLst>
          </p:cNvPr>
          <p:cNvCxnSpPr>
            <a:cxnSpLocks/>
          </p:cNvCxnSpPr>
          <p:nvPr/>
        </p:nvCxnSpPr>
        <p:spPr>
          <a:xfrm flipH="1" flipV="1">
            <a:off x="5508171" y="4345173"/>
            <a:ext cx="898349" cy="411884"/>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0455FD6-E5B5-9E8E-DB85-A2CBF7EB25B0}"/>
              </a:ext>
            </a:extLst>
          </p:cNvPr>
          <p:cNvPicPr>
            <a:picLocks noChangeAspect="1"/>
          </p:cNvPicPr>
          <p:nvPr/>
        </p:nvPicPr>
        <p:blipFill>
          <a:blip r:embed="rId2"/>
          <a:stretch>
            <a:fillRect/>
          </a:stretch>
        </p:blipFill>
        <p:spPr>
          <a:xfrm>
            <a:off x="1023257" y="1381216"/>
            <a:ext cx="7772400" cy="5340174"/>
          </a:xfrm>
          <a:prstGeom prst="rect">
            <a:avLst/>
          </a:prstGeom>
        </p:spPr>
      </p:pic>
      <p:sp>
        <p:nvSpPr>
          <p:cNvPr id="5" name="TextBox 4">
            <a:extLst>
              <a:ext uri="{FF2B5EF4-FFF2-40B4-BE49-F238E27FC236}">
                <a16:creationId xmlns:a16="http://schemas.microsoft.com/office/drawing/2014/main" id="{7AFA3D91-3E95-4104-9C22-0DEAF900EFD0}"/>
              </a:ext>
            </a:extLst>
          </p:cNvPr>
          <p:cNvSpPr txBox="1"/>
          <p:nvPr/>
        </p:nvSpPr>
        <p:spPr>
          <a:xfrm>
            <a:off x="6399396" y="2573975"/>
            <a:ext cx="4413324" cy="1754326"/>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b="1" dirty="0">
                <a:solidFill>
                  <a:schemeClr val="accent1">
                    <a:lumMod val="50000"/>
                  </a:schemeClr>
                </a:solidFill>
              </a:rPr>
              <a:t>All networks </a:t>
            </a:r>
            <a:r>
              <a:rPr lang="en-US" dirty="0"/>
              <a:t>makes Purview available as</a:t>
            </a:r>
            <a:br>
              <a:rPr lang="en-US" dirty="0"/>
            </a:br>
            <a:r>
              <a:rPr lang="en-US" dirty="0"/>
              <a:t>Public cloud servic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f you choose </a:t>
            </a:r>
            <a:r>
              <a:rPr lang="en-US" b="1" dirty="0">
                <a:solidFill>
                  <a:schemeClr val="accent1">
                    <a:lumMod val="50000"/>
                  </a:schemeClr>
                </a:solidFill>
              </a:rPr>
              <a:t>Private Endpoints</a:t>
            </a:r>
            <a:br>
              <a:rPr lang="en-US" dirty="0"/>
            </a:br>
            <a:r>
              <a:rPr lang="en-US" dirty="0"/>
              <a:t>please follow these </a:t>
            </a:r>
            <a:r>
              <a:rPr lang="en-US" dirty="0">
                <a:hlinkClick r:id="rId3"/>
              </a:rPr>
              <a:t>instructions</a:t>
            </a:r>
            <a:br>
              <a:rPr lang="en-US" dirty="0"/>
            </a:br>
            <a:endParaRPr lang="en-US" dirty="0"/>
          </a:p>
        </p:txBody>
      </p:sp>
      <p:cxnSp>
        <p:nvCxnSpPr>
          <p:cNvPr id="6" name="Straight Arrow Connector 5">
            <a:extLst>
              <a:ext uri="{FF2B5EF4-FFF2-40B4-BE49-F238E27FC236}">
                <a16:creationId xmlns:a16="http://schemas.microsoft.com/office/drawing/2014/main" id="{0BE18C9B-8415-47F9-B791-23399393A909}"/>
              </a:ext>
            </a:extLst>
          </p:cNvPr>
          <p:cNvCxnSpPr>
            <a:cxnSpLocks/>
          </p:cNvCxnSpPr>
          <p:nvPr/>
        </p:nvCxnSpPr>
        <p:spPr>
          <a:xfrm flipH="1">
            <a:off x="3614057" y="2775857"/>
            <a:ext cx="2785339" cy="536782"/>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CF65338-89B1-73E8-CEFA-1A8356BF5ED1}"/>
              </a:ext>
            </a:extLst>
          </p:cNvPr>
          <p:cNvCxnSpPr>
            <a:cxnSpLocks/>
          </p:cNvCxnSpPr>
          <p:nvPr/>
        </p:nvCxnSpPr>
        <p:spPr>
          <a:xfrm flipH="1" flipV="1">
            <a:off x="3688853" y="3493532"/>
            <a:ext cx="2635747" cy="99028"/>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37F959A-FE51-1E91-D549-34E9231097D4}"/>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5395043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85AEE-90AD-38CA-A0CB-E8F6FEACE47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2081FBC-D51F-A590-7B17-9E6B6C6D6020}"/>
              </a:ext>
            </a:extLst>
          </p:cNvPr>
          <p:cNvPicPr>
            <a:picLocks noChangeAspect="1"/>
          </p:cNvPicPr>
          <p:nvPr/>
        </p:nvPicPr>
        <p:blipFill>
          <a:blip r:embed="rId2"/>
          <a:stretch>
            <a:fillRect/>
          </a:stretch>
        </p:blipFill>
        <p:spPr>
          <a:xfrm>
            <a:off x="770732" y="1522686"/>
            <a:ext cx="7772400" cy="5340174"/>
          </a:xfrm>
          <a:prstGeom prst="rect">
            <a:avLst/>
          </a:prstGeom>
        </p:spPr>
      </p:pic>
      <p:sp>
        <p:nvSpPr>
          <p:cNvPr id="3" name="TextBox 2">
            <a:extLst>
              <a:ext uri="{FF2B5EF4-FFF2-40B4-BE49-F238E27FC236}">
                <a16:creationId xmlns:a16="http://schemas.microsoft.com/office/drawing/2014/main" id="{5A357D59-D87F-B115-F299-EC1E2F1193E7}"/>
              </a:ext>
            </a:extLst>
          </p:cNvPr>
          <p:cNvSpPr txBox="1"/>
          <p:nvPr/>
        </p:nvSpPr>
        <p:spPr>
          <a:xfrm>
            <a:off x="685801" y="648493"/>
            <a:ext cx="8267648" cy="646331"/>
          </a:xfrm>
          <a:prstGeom prst="rect">
            <a:avLst/>
          </a:prstGeom>
          <a:noFill/>
        </p:spPr>
        <p:txBody>
          <a:bodyPr wrap="none" rtlCol="0">
            <a:spAutoFit/>
          </a:bodyPr>
          <a:lstStyle/>
          <a:p>
            <a:r>
              <a:rPr lang="en-US" b="1"/>
              <a:t>Step 4 (optional) – If you like to enable publishing and consuming messages from</a:t>
            </a:r>
            <a:br>
              <a:rPr lang="en-US" b="1"/>
            </a:br>
            <a:r>
              <a:rPr lang="en-US" b="1"/>
              <a:t>Purview using Kafka add a configuration for this on the </a:t>
            </a:r>
            <a:r>
              <a:rPr lang="en-US" b="1">
                <a:solidFill>
                  <a:schemeClr val="accent1">
                    <a:lumMod val="50000"/>
                  </a:schemeClr>
                </a:solidFill>
              </a:rPr>
              <a:t>Configuration</a:t>
            </a:r>
            <a:r>
              <a:rPr lang="en-US" b="1"/>
              <a:t> tab</a:t>
            </a:r>
          </a:p>
        </p:txBody>
      </p:sp>
      <p:sp>
        <p:nvSpPr>
          <p:cNvPr id="5" name="TextBox 4">
            <a:extLst>
              <a:ext uri="{FF2B5EF4-FFF2-40B4-BE49-F238E27FC236}">
                <a16:creationId xmlns:a16="http://schemas.microsoft.com/office/drawing/2014/main" id="{2A086552-82AB-C38C-1DE7-F0141C5C13A3}"/>
              </a:ext>
            </a:extLst>
          </p:cNvPr>
          <p:cNvSpPr txBox="1"/>
          <p:nvPr/>
        </p:nvSpPr>
        <p:spPr>
          <a:xfrm>
            <a:off x="6878368" y="2715445"/>
            <a:ext cx="4508094" cy="369332"/>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b="1">
                <a:solidFill>
                  <a:schemeClr val="accent1">
                    <a:lumMod val="50000"/>
                  </a:schemeClr>
                </a:solidFill>
              </a:rPr>
              <a:t>Add</a:t>
            </a:r>
            <a:r>
              <a:rPr lang="en-US" b="1">
                <a:solidFill>
                  <a:schemeClr val="bg1"/>
                </a:solidFill>
              </a:rPr>
              <a:t> </a:t>
            </a:r>
            <a:r>
              <a:rPr lang="en-US"/>
              <a:t>a</a:t>
            </a:r>
            <a:r>
              <a:rPr lang="en-US" b="1">
                <a:solidFill>
                  <a:schemeClr val="bg1"/>
                </a:solidFill>
              </a:rPr>
              <a:t> </a:t>
            </a:r>
            <a:r>
              <a:rPr lang="en-US" b="1">
                <a:solidFill>
                  <a:schemeClr val="accent1">
                    <a:lumMod val="50000"/>
                  </a:schemeClr>
                </a:solidFill>
              </a:rPr>
              <a:t>configuration</a:t>
            </a:r>
            <a:r>
              <a:rPr lang="en-US" b="1">
                <a:solidFill>
                  <a:schemeClr val="bg1"/>
                </a:solidFill>
              </a:rPr>
              <a:t> </a:t>
            </a:r>
            <a:r>
              <a:rPr lang="en-US"/>
              <a:t>for your Kafka setup</a:t>
            </a:r>
          </a:p>
        </p:txBody>
      </p:sp>
      <p:cxnSp>
        <p:nvCxnSpPr>
          <p:cNvPr id="6" name="Straight Arrow Connector 5">
            <a:extLst>
              <a:ext uri="{FF2B5EF4-FFF2-40B4-BE49-F238E27FC236}">
                <a16:creationId xmlns:a16="http://schemas.microsoft.com/office/drawing/2014/main" id="{068B13BA-3D16-BD10-0D57-07B4BF6486EC}"/>
              </a:ext>
            </a:extLst>
          </p:cNvPr>
          <p:cNvCxnSpPr>
            <a:cxnSpLocks/>
            <a:stCxn id="5" idx="1"/>
          </p:cNvCxnSpPr>
          <p:nvPr/>
        </p:nvCxnSpPr>
        <p:spPr>
          <a:xfrm flipH="1">
            <a:off x="1926771" y="2900111"/>
            <a:ext cx="4951597" cy="528889"/>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F692AAB-7A10-8203-B37B-247CCC15E15D}"/>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26446577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98535-FE2E-0B62-1903-A0C4F20F4145}"/>
              </a:ext>
              <a:ext uri="{C183D7F6-B498-43B3-948B-1728B52AA6E4}">
                <adec:decorative xmlns:adec="http://schemas.microsoft.com/office/drawing/2017/decorative" val="0"/>
              </a:ext>
            </a:extLst>
          </p:cNvPr>
          <p:cNvSpPr>
            <a:spLocks noGrp="1"/>
          </p:cNvSpPr>
          <p:nvPr>
            <p:ph type="title" idx="4294967295"/>
          </p:nvPr>
        </p:nvSpPr>
        <p:spPr>
          <a:xfrm>
            <a:off x="0" y="365125"/>
            <a:ext cx="11029950" cy="549275"/>
          </a:xfrm>
        </p:spPr>
        <p:txBody>
          <a:bodyPr>
            <a:normAutofit/>
          </a:bodyPr>
          <a:lstStyle/>
          <a:p>
            <a:r>
              <a:rPr lang="en-US" dirty="0"/>
              <a:t>Today’s data realities</a:t>
            </a:r>
          </a:p>
        </p:txBody>
      </p:sp>
      <p:sp>
        <p:nvSpPr>
          <p:cNvPr id="106" name="Slide Number Placeholder 105">
            <a:extLst>
              <a:ext uri="{FF2B5EF4-FFF2-40B4-BE49-F238E27FC236}">
                <a16:creationId xmlns:a16="http://schemas.microsoft.com/office/drawing/2014/main" id="{CBD05517-D466-193C-B8F2-7D4FCFF52565}"/>
              </a:ext>
            </a:extLst>
          </p:cNvPr>
          <p:cNvSpPr>
            <a:spLocks noGrp="1"/>
          </p:cNvSpPr>
          <p:nvPr>
            <p:ph type="sldNum" sz="quarter" idx="4294967295"/>
          </p:nvPr>
        </p:nvSpPr>
        <p:spPr>
          <a:xfrm>
            <a:off x="0" y="6310313"/>
            <a:ext cx="398463"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225B61">
                    <a:tint val="75000"/>
                  </a:srgbClr>
                </a:solidFill>
                <a:effectLst/>
                <a:uLnTx/>
                <a:uFillTx/>
                <a:latin typeface="Segoe Sans Small Semilight" pitchFamily="2" charset="0"/>
                <a:ea typeface="+mn-ea"/>
                <a:cs typeface="Segoe Sans Small Semilight" pitchFamily="2" charset="0"/>
              </a:rPr>
              <a:pPr marL="0" marR="0" lvl="0" indent="0" algn="l" defTabSz="914367"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225B61">
                  <a:tint val="75000"/>
                </a:srgbClr>
              </a:solidFill>
              <a:effectLst/>
              <a:uLnTx/>
              <a:uFillTx/>
              <a:latin typeface="Segoe Sans Small Semilight" pitchFamily="2" charset="0"/>
              <a:ea typeface="+mn-ea"/>
              <a:cs typeface="Segoe Sans Small Semilight" pitchFamily="2" charset="0"/>
            </a:endParaRPr>
          </a:p>
        </p:txBody>
      </p:sp>
      <p:sp>
        <p:nvSpPr>
          <p:cNvPr id="4" name="Footer Placeholder 3">
            <a:extLst>
              <a:ext uri="{FF2B5EF4-FFF2-40B4-BE49-F238E27FC236}">
                <a16:creationId xmlns:a16="http://schemas.microsoft.com/office/drawing/2014/main" id="{AD90C035-2357-5914-02E4-6DA68D672587}"/>
              </a:ext>
            </a:extLst>
          </p:cNvPr>
          <p:cNvSpPr>
            <a:spLocks noGrp="1"/>
          </p:cNvSpPr>
          <p:nvPr>
            <p:ph type="ftr" sz="quarter" idx="4294967295"/>
          </p:nvPr>
        </p:nvSpPr>
        <p:spPr>
          <a:xfrm>
            <a:off x="0" y="6310313"/>
            <a:ext cx="2079625"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25B61">
                    <a:tint val="75000"/>
                  </a:srgbClr>
                </a:solidFill>
                <a:effectLst/>
                <a:uLnTx/>
                <a:uFillTx/>
                <a:latin typeface="Segoe Sans Small Semilight" pitchFamily="2" charset="0"/>
                <a:ea typeface="+mn-ea"/>
                <a:cs typeface="Segoe Sans Small Semilight" pitchFamily="2" charset="0"/>
              </a:rPr>
              <a:t>Microsoft Purview</a:t>
            </a:r>
          </a:p>
        </p:txBody>
      </p:sp>
      <p:grpSp>
        <p:nvGrpSpPr>
          <p:cNvPr id="3" name="Group 2">
            <a:extLst>
              <a:ext uri="{FF2B5EF4-FFF2-40B4-BE49-F238E27FC236}">
                <a16:creationId xmlns:a16="http://schemas.microsoft.com/office/drawing/2014/main" id="{A258B763-0D2D-D20A-BFF5-8E89CADA90EE}"/>
              </a:ext>
              <a:ext uri="{C183D7F6-B498-43B3-948B-1728B52AA6E4}">
                <adec:decorative xmlns:adec="http://schemas.microsoft.com/office/drawing/2017/decorative" val="1"/>
              </a:ext>
            </a:extLst>
          </p:cNvPr>
          <p:cNvGrpSpPr/>
          <p:nvPr/>
        </p:nvGrpSpPr>
        <p:grpSpPr>
          <a:xfrm>
            <a:off x="-3" y="1362075"/>
            <a:ext cx="5534028" cy="4943476"/>
            <a:chOff x="-3" y="1362075"/>
            <a:chExt cx="5534028" cy="4943476"/>
          </a:xfrm>
        </p:grpSpPr>
        <p:sp>
          <p:nvSpPr>
            <p:cNvPr id="109" name="Rounded Rectangle 8">
              <a:extLst>
                <a:ext uri="{FF2B5EF4-FFF2-40B4-BE49-F238E27FC236}">
                  <a16:creationId xmlns:a16="http://schemas.microsoft.com/office/drawing/2014/main" id="{8AB00CA9-7CDD-BC4E-F428-224B5F2F9D10}"/>
                </a:ext>
                <a:ext uri="{C183D7F6-B498-43B3-948B-1728B52AA6E4}">
                  <adec:decorative xmlns:adec="http://schemas.microsoft.com/office/drawing/2017/decorative" val="1"/>
                </a:ext>
              </a:extLst>
            </p:cNvPr>
            <p:cNvSpPr/>
            <p:nvPr/>
          </p:nvSpPr>
          <p:spPr bwMode="auto">
            <a:xfrm rot="5400000">
              <a:off x="295273" y="1066799"/>
              <a:ext cx="4943476" cy="5534028"/>
            </a:xfrm>
            <a:prstGeom prst="round2SameRect">
              <a:avLst>
                <a:gd name="adj1" fmla="val 2358"/>
                <a:gd name="adj2" fmla="val 0"/>
              </a:avLst>
            </a:pr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dirty="0">
                <a:ln>
                  <a:noFill/>
                </a:ln>
                <a:gradFill>
                  <a:gsLst>
                    <a:gs pos="2874">
                      <a:srgbClr val="FFFFFF"/>
                    </a:gs>
                    <a:gs pos="17978">
                      <a:srgbClr val="FFFFFF"/>
                    </a:gs>
                  </a:gsLst>
                  <a:lin ang="2700000" scaled="0"/>
                </a:gradFill>
                <a:effectLst/>
                <a:uLnTx/>
                <a:uFillTx/>
                <a:latin typeface="Segoe UI"/>
                <a:ea typeface="+mn-ea"/>
                <a:cs typeface="+mn-cs"/>
              </a:endParaRPr>
            </a:p>
          </p:txBody>
        </p:sp>
        <p:cxnSp>
          <p:nvCxnSpPr>
            <p:cNvPr id="113" name="Straight Connector 112">
              <a:extLst>
                <a:ext uri="{FF2B5EF4-FFF2-40B4-BE49-F238E27FC236}">
                  <a16:creationId xmlns:a16="http://schemas.microsoft.com/office/drawing/2014/main" id="{147596AB-1972-9AB0-489E-988003A50EF1}"/>
                </a:ext>
                <a:ext uri="{C183D7F6-B498-43B3-948B-1728B52AA6E4}">
                  <adec:decorative xmlns:adec="http://schemas.microsoft.com/office/drawing/2017/decorative" val="1"/>
                </a:ext>
              </a:extLst>
            </p:cNvPr>
            <p:cNvCxnSpPr>
              <a:cxnSpLocks/>
            </p:cNvCxnSpPr>
            <p:nvPr/>
          </p:nvCxnSpPr>
          <p:spPr>
            <a:xfrm flipH="1">
              <a:off x="588962" y="3244702"/>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1CC0674-6A0A-4B04-1ED6-6BFC46C80ED0}"/>
                </a:ext>
                <a:ext uri="{C183D7F6-B498-43B3-948B-1728B52AA6E4}">
                  <adec:decorative xmlns:adec="http://schemas.microsoft.com/office/drawing/2017/decorative" val="1"/>
                </a:ext>
              </a:extLst>
            </p:cNvPr>
            <p:cNvCxnSpPr>
              <a:cxnSpLocks/>
            </p:cNvCxnSpPr>
            <p:nvPr/>
          </p:nvCxnSpPr>
          <p:spPr>
            <a:xfrm flipH="1">
              <a:off x="588962" y="2374257"/>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9D05262-AACA-5515-D23E-A4D48606F2AE}"/>
                </a:ext>
                <a:ext uri="{C183D7F6-B498-43B3-948B-1728B52AA6E4}">
                  <adec:decorative xmlns:adec="http://schemas.microsoft.com/office/drawing/2017/decorative" val="1"/>
                </a:ext>
              </a:extLst>
            </p:cNvPr>
            <p:cNvCxnSpPr>
              <a:cxnSpLocks/>
            </p:cNvCxnSpPr>
            <p:nvPr/>
          </p:nvCxnSpPr>
          <p:spPr>
            <a:xfrm flipH="1">
              <a:off x="588962" y="4422923"/>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A27EBC1-97BC-92CE-066A-1F4DC6078CB2}"/>
                </a:ext>
                <a:ext uri="{C183D7F6-B498-43B3-948B-1728B52AA6E4}">
                  <adec:decorative xmlns:adec="http://schemas.microsoft.com/office/drawing/2017/decorative" val="1"/>
                </a:ext>
              </a:extLst>
            </p:cNvPr>
            <p:cNvCxnSpPr>
              <a:cxnSpLocks/>
            </p:cNvCxnSpPr>
            <p:nvPr/>
          </p:nvCxnSpPr>
          <p:spPr>
            <a:xfrm flipH="1">
              <a:off x="588962" y="5293368"/>
              <a:ext cx="4716568" cy="0"/>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grpSp>
      <p:sp>
        <p:nvSpPr>
          <p:cNvPr id="6" name="Content Placeholder 5">
            <a:extLst>
              <a:ext uri="{FF2B5EF4-FFF2-40B4-BE49-F238E27FC236}">
                <a16:creationId xmlns:a16="http://schemas.microsoft.com/office/drawing/2014/main" id="{3DAB69AE-CF9E-4546-F687-F30FAE484561}"/>
              </a:ext>
              <a:ext uri="{C183D7F6-B498-43B3-948B-1728B52AA6E4}">
                <adec:decorative xmlns:adec="http://schemas.microsoft.com/office/drawing/2017/decorative" val="0"/>
              </a:ext>
            </a:extLst>
          </p:cNvPr>
          <p:cNvSpPr txBox="1">
            <a:spLocks/>
          </p:cNvSpPr>
          <p:nvPr/>
        </p:nvSpPr>
        <p:spPr>
          <a:xfrm>
            <a:off x="588962" y="1785146"/>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What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data</a:t>
            </a: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 do I have?</a:t>
            </a:r>
          </a:p>
        </p:txBody>
      </p:sp>
      <p:sp>
        <p:nvSpPr>
          <p:cNvPr id="7" name="Content Placeholder 6">
            <a:extLst>
              <a:ext uri="{FF2B5EF4-FFF2-40B4-BE49-F238E27FC236}">
                <a16:creationId xmlns:a16="http://schemas.microsoft.com/office/drawing/2014/main" id="{D2EF2EAC-3DD1-721D-D4A5-80F0052BA0D3}"/>
              </a:ext>
              <a:ext uri="{C183D7F6-B498-43B3-948B-1728B52AA6E4}">
                <adec:decorative xmlns:adec="http://schemas.microsoft.com/office/drawing/2017/decorative" val="0"/>
              </a:ext>
            </a:extLst>
          </p:cNvPr>
          <p:cNvSpPr txBox="1">
            <a:spLocks/>
          </p:cNvSpPr>
          <p:nvPr/>
        </p:nvSpPr>
        <p:spPr>
          <a:xfrm>
            <a:off x="588963" y="2655591"/>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Is it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trustworthy?</a:t>
            </a:r>
          </a:p>
        </p:txBody>
      </p:sp>
      <p:sp>
        <p:nvSpPr>
          <p:cNvPr id="8" name="Content Placeholder 7">
            <a:extLst>
              <a:ext uri="{FF2B5EF4-FFF2-40B4-BE49-F238E27FC236}">
                <a16:creationId xmlns:a16="http://schemas.microsoft.com/office/drawing/2014/main" id="{A5C8D08A-4337-137B-A6E5-9DDD3B79B6FB}"/>
              </a:ext>
              <a:ext uri="{C183D7F6-B498-43B3-948B-1728B52AA6E4}">
                <adec:decorative xmlns:adec="http://schemas.microsoft.com/office/drawing/2017/decorative" val="0"/>
              </a:ext>
            </a:extLst>
          </p:cNvPr>
          <p:cNvSpPr txBox="1">
            <a:spLocks/>
          </p:cNvSpPr>
          <p:nvPr/>
        </p:nvSpPr>
        <p:spPr>
          <a:xfrm>
            <a:off x="588963" y="3526036"/>
            <a:ext cx="4686905" cy="615553"/>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Can people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access the data needed</a:t>
            </a:r>
            <a:r>
              <a:rPr kumimoji="0" lang="en-US" sz="2000" b="0" i="0" u="none" strike="noStrike" kern="1200" cap="none" spc="0" normalizeH="0" baseline="0" noProof="0" dirty="0">
                <a:ln>
                  <a:noFill/>
                </a:ln>
                <a:solidFill>
                  <a:srgbClr val="8661C5"/>
                </a:solidFill>
                <a:effectLst/>
                <a:uLnTx/>
                <a:uFillTx/>
                <a:latin typeface="Segoe Sans Text Semilight"/>
                <a:ea typeface="+mn-ea"/>
                <a:cs typeface="Segoe UI" panose="020B0502040204020203" pitchFamily="34" charset="0"/>
              </a:rPr>
              <a:t> </a:t>
            </a: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to make the right decisions?</a:t>
            </a:r>
          </a:p>
        </p:txBody>
      </p:sp>
      <p:sp>
        <p:nvSpPr>
          <p:cNvPr id="9" name="Content Placeholder 8">
            <a:extLst>
              <a:ext uri="{FF2B5EF4-FFF2-40B4-BE49-F238E27FC236}">
                <a16:creationId xmlns:a16="http://schemas.microsoft.com/office/drawing/2014/main" id="{624BDC99-53C7-C34B-BAEC-0853E548ACC4}"/>
              </a:ext>
              <a:ext uri="{C183D7F6-B498-43B3-948B-1728B52AA6E4}">
                <adec:decorative xmlns:adec="http://schemas.microsoft.com/office/drawing/2017/decorative" val="0"/>
              </a:ext>
            </a:extLst>
          </p:cNvPr>
          <p:cNvSpPr txBox="1">
            <a:spLocks/>
          </p:cNvSpPr>
          <p:nvPr/>
        </p:nvSpPr>
        <p:spPr>
          <a:xfrm>
            <a:off x="588963" y="4704257"/>
            <a:ext cx="478004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How can I enable faster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business insights?</a:t>
            </a:r>
          </a:p>
        </p:txBody>
      </p:sp>
      <p:sp>
        <p:nvSpPr>
          <p:cNvPr id="10" name="Content Placeholder 9">
            <a:extLst>
              <a:ext uri="{FF2B5EF4-FFF2-40B4-BE49-F238E27FC236}">
                <a16:creationId xmlns:a16="http://schemas.microsoft.com/office/drawing/2014/main" id="{E0E4F26F-D7F1-FA80-E0AE-B66FD693FD79}"/>
              </a:ext>
              <a:ext uri="{C183D7F6-B498-43B3-948B-1728B52AA6E4}">
                <adec:decorative xmlns:adec="http://schemas.microsoft.com/office/drawing/2017/decorative" val="0"/>
              </a:ext>
            </a:extLst>
          </p:cNvPr>
          <p:cNvSpPr txBox="1">
            <a:spLocks/>
          </p:cNvSpPr>
          <p:nvPr/>
        </p:nvSpPr>
        <p:spPr>
          <a:xfrm>
            <a:off x="588962" y="5574701"/>
            <a:ext cx="4686905" cy="307777"/>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tab pos="3721100" algn="l"/>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What’s my </a:t>
            </a:r>
            <a:r>
              <a:rPr kumimoji="0" lang="en-US" sz="2000" b="0" i="0" u="none" strike="noStrike" kern="1200" cap="none" spc="0" normalizeH="0" baseline="0" noProof="0" dirty="0">
                <a:ln>
                  <a:noFill/>
                </a:ln>
                <a:solidFill>
                  <a:srgbClr val="8661C5"/>
                </a:solidFill>
                <a:effectLst/>
                <a:uLnTx/>
                <a:uFillTx/>
                <a:latin typeface="Segoe Sans Display Semibold" pitchFamily="2" charset="0"/>
                <a:ea typeface="+mn-ea"/>
                <a:cs typeface="Segoe Sans Display Semibold" pitchFamily="2" charset="0"/>
              </a:rPr>
              <a:t>compliance</a:t>
            </a:r>
            <a:r>
              <a:rPr kumimoji="0" lang="en-US" sz="2000" b="0" i="0" u="none" strike="noStrike" kern="1200" cap="none" spc="0" normalizeH="0" baseline="0" noProof="0" dirty="0">
                <a:ln>
                  <a:noFill/>
                </a:ln>
                <a:solidFill>
                  <a:srgbClr val="000000"/>
                </a:solidFill>
                <a:effectLst/>
                <a:uLnTx/>
                <a:uFillTx/>
                <a:latin typeface="Segoe Sans Text Semilight"/>
                <a:ea typeface="+mn-ea"/>
                <a:cs typeface="Segoe UI" panose="020B0502040204020203" pitchFamily="34" charset="0"/>
              </a:rPr>
              <a:t> exposure?</a:t>
            </a:r>
          </a:p>
        </p:txBody>
      </p:sp>
      <p:sp>
        <p:nvSpPr>
          <p:cNvPr id="105" name="Rectangle 104" descr="An animation that shows the flow of Operational Databases, Analytics and Data governance">
            <a:extLst>
              <a:ext uri="{FF2B5EF4-FFF2-40B4-BE49-F238E27FC236}">
                <a16:creationId xmlns:a16="http://schemas.microsoft.com/office/drawing/2014/main" id="{B532A8B8-0392-6B2F-2187-F4D479D91CBD}"/>
              </a:ext>
            </a:extLst>
          </p:cNvPr>
          <p:cNvSpPr/>
          <p:nvPr/>
        </p:nvSpPr>
        <p:spPr>
          <a:xfrm>
            <a:off x="6102348" y="1334288"/>
            <a:ext cx="450858" cy="45085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Sans Text Semilight"/>
              <a:ea typeface="+mn-ea"/>
              <a:cs typeface="+mn-cs"/>
            </a:endParaRPr>
          </a:p>
        </p:txBody>
      </p:sp>
      <p:grpSp>
        <p:nvGrpSpPr>
          <p:cNvPr id="11" name="Group 10">
            <a:extLst>
              <a:ext uri="{FF2B5EF4-FFF2-40B4-BE49-F238E27FC236}">
                <a16:creationId xmlns:a16="http://schemas.microsoft.com/office/drawing/2014/main" id="{9D6339FB-DE45-7A6A-258D-5A52DEED0E0A}"/>
              </a:ext>
              <a:ext uri="{C183D7F6-B498-43B3-948B-1728B52AA6E4}">
                <adec:decorative xmlns:adec="http://schemas.microsoft.com/office/drawing/2017/decorative" val="1"/>
              </a:ext>
            </a:extLst>
          </p:cNvPr>
          <p:cNvGrpSpPr/>
          <p:nvPr/>
        </p:nvGrpSpPr>
        <p:grpSpPr>
          <a:xfrm>
            <a:off x="6102348" y="2412657"/>
            <a:ext cx="5789172" cy="4152227"/>
            <a:chOff x="12204695" y="4825313"/>
            <a:chExt cx="11578344" cy="8304454"/>
          </a:xfrm>
        </p:grpSpPr>
        <p:grpSp>
          <p:nvGrpSpPr>
            <p:cNvPr id="12" name="Group 11">
              <a:extLst>
                <a:ext uri="{FF2B5EF4-FFF2-40B4-BE49-F238E27FC236}">
                  <a16:creationId xmlns:a16="http://schemas.microsoft.com/office/drawing/2014/main" id="{C1A88194-5B32-5EBF-090B-4AF3E9B9EB3E}"/>
                </a:ext>
              </a:extLst>
            </p:cNvPr>
            <p:cNvGrpSpPr/>
            <p:nvPr/>
          </p:nvGrpSpPr>
          <p:grpSpPr>
            <a:xfrm>
              <a:off x="12458606" y="7568068"/>
              <a:ext cx="11324433" cy="5561699"/>
              <a:chOff x="12458606" y="7568068"/>
              <a:chExt cx="11324433" cy="5561699"/>
            </a:xfrm>
          </p:grpSpPr>
          <p:sp>
            <p:nvSpPr>
              <p:cNvPr id="17" name="Freeform: Shape 16">
                <a:extLst>
                  <a:ext uri="{FF2B5EF4-FFF2-40B4-BE49-F238E27FC236}">
                    <a16:creationId xmlns:a16="http://schemas.microsoft.com/office/drawing/2014/main" id="{F7EA2460-57AF-954B-ACA2-8C87CC695EA1}"/>
                  </a:ext>
                </a:extLst>
              </p:cNvPr>
              <p:cNvSpPr/>
              <p:nvPr/>
            </p:nvSpPr>
            <p:spPr>
              <a:xfrm>
                <a:off x="19989195" y="7568068"/>
                <a:ext cx="2955937" cy="5561699"/>
              </a:xfrm>
              <a:custGeom>
                <a:avLst/>
                <a:gdLst>
                  <a:gd name="connsiteX0" fmla="*/ 0 w 3351626"/>
                  <a:gd name="connsiteY0" fmla="*/ 0 h 5561699"/>
                  <a:gd name="connsiteX1" fmla="*/ 3351626 w 3351626"/>
                  <a:gd name="connsiteY1" fmla="*/ 5561699 h 5561699"/>
                </a:gdLst>
                <a:ahLst/>
                <a:cxnLst>
                  <a:cxn ang="0">
                    <a:pos x="connsiteX0" y="connsiteY0"/>
                  </a:cxn>
                  <a:cxn ang="0">
                    <a:pos x="connsiteX1" y="connsiteY1"/>
                  </a:cxn>
                </a:cxnLst>
                <a:rect l="l" t="t" r="r" b="b"/>
                <a:pathLst>
                  <a:path w="3351626" h="5561699">
                    <a:moveTo>
                      <a:pt x="0" y="0"/>
                    </a:moveTo>
                    <a:cubicBezTo>
                      <a:pt x="0" y="1219003"/>
                      <a:pt x="3351626" y="3555424"/>
                      <a:pt x="3351626" y="556169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7AF53C8-85F1-26E8-A5E0-CDEF1E88BA68}"/>
                  </a:ext>
                </a:extLst>
              </p:cNvPr>
              <p:cNvSpPr/>
              <p:nvPr/>
            </p:nvSpPr>
            <p:spPr>
              <a:xfrm>
                <a:off x="17714565" y="7568068"/>
                <a:ext cx="3935621" cy="5561699"/>
              </a:xfrm>
              <a:custGeom>
                <a:avLst/>
                <a:gdLst>
                  <a:gd name="connsiteX0" fmla="*/ 0 w 4646572"/>
                  <a:gd name="connsiteY0" fmla="*/ 5561699 h 5561699"/>
                  <a:gd name="connsiteX1" fmla="*/ 4646573 w 4646572"/>
                  <a:gd name="connsiteY1" fmla="*/ 0 h 5561699"/>
                </a:gdLst>
                <a:ahLst/>
                <a:cxnLst>
                  <a:cxn ang="0">
                    <a:pos x="connsiteX0" y="connsiteY0"/>
                  </a:cxn>
                  <a:cxn ang="0">
                    <a:pos x="connsiteX1" y="connsiteY1"/>
                  </a:cxn>
                </a:cxnLst>
                <a:rect l="l" t="t" r="r" b="b"/>
                <a:pathLst>
                  <a:path w="4646572" h="5561699">
                    <a:moveTo>
                      <a:pt x="0" y="5561699"/>
                    </a:moveTo>
                    <a:cubicBezTo>
                      <a:pt x="0" y="4190321"/>
                      <a:pt x="4646573" y="1726920"/>
                      <a:pt x="4646573"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94DF4D3-9843-F8F9-BEAC-D0834AA0B98B}"/>
                  </a:ext>
                </a:extLst>
              </p:cNvPr>
              <p:cNvSpPr/>
              <p:nvPr/>
            </p:nvSpPr>
            <p:spPr>
              <a:xfrm>
                <a:off x="16800485" y="10183845"/>
                <a:ext cx="1142599" cy="2945922"/>
              </a:xfrm>
              <a:custGeom>
                <a:avLst/>
                <a:gdLst>
                  <a:gd name="connsiteX0" fmla="*/ 0 w 1142599"/>
                  <a:gd name="connsiteY0" fmla="*/ 2945923 h 2945922"/>
                  <a:gd name="connsiteX1" fmla="*/ 1142600 w 1142599"/>
                  <a:gd name="connsiteY1" fmla="*/ 0 h 2945922"/>
                </a:gdLst>
                <a:ahLst/>
                <a:cxnLst>
                  <a:cxn ang="0">
                    <a:pos x="connsiteX0" y="connsiteY0"/>
                  </a:cxn>
                  <a:cxn ang="0">
                    <a:pos x="connsiteX1" y="connsiteY1"/>
                  </a:cxn>
                </a:cxnLst>
                <a:rect l="l" t="t" r="r" b="b"/>
                <a:pathLst>
                  <a:path w="1142599" h="2945922">
                    <a:moveTo>
                      <a:pt x="0" y="2945923"/>
                    </a:moveTo>
                    <a:cubicBezTo>
                      <a:pt x="0" y="2175158"/>
                      <a:pt x="1142600" y="699656"/>
                      <a:pt x="114260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8D91791-D722-2B6C-518A-8EDBB5141E46}"/>
                  </a:ext>
                </a:extLst>
              </p:cNvPr>
              <p:cNvSpPr/>
              <p:nvPr/>
            </p:nvSpPr>
            <p:spPr>
              <a:xfrm>
                <a:off x="15378583" y="10183845"/>
                <a:ext cx="558604" cy="2945922"/>
              </a:xfrm>
              <a:custGeom>
                <a:avLst/>
                <a:gdLst>
                  <a:gd name="connsiteX0" fmla="*/ 558604 w 558604"/>
                  <a:gd name="connsiteY0" fmla="*/ 2945923 h 2945922"/>
                  <a:gd name="connsiteX1" fmla="*/ 0 w 558604"/>
                  <a:gd name="connsiteY1" fmla="*/ 0 h 2945922"/>
                </a:gdLst>
                <a:ahLst/>
                <a:cxnLst>
                  <a:cxn ang="0">
                    <a:pos x="connsiteX0" y="connsiteY0"/>
                  </a:cxn>
                  <a:cxn ang="0">
                    <a:pos x="connsiteX1" y="connsiteY1"/>
                  </a:cxn>
                </a:cxnLst>
                <a:rect l="l" t="t" r="r" b="b"/>
                <a:pathLst>
                  <a:path w="558604" h="2945922">
                    <a:moveTo>
                      <a:pt x="558604" y="2945923"/>
                    </a:moveTo>
                    <a:cubicBezTo>
                      <a:pt x="558604"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95BBAFF-EF82-5303-C47E-9BC6B06F6440}"/>
                  </a:ext>
                </a:extLst>
              </p:cNvPr>
              <p:cNvSpPr/>
              <p:nvPr/>
            </p:nvSpPr>
            <p:spPr>
              <a:xfrm>
                <a:off x="13575815"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D9A4471-235E-6B31-9E6C-63364B1FA9BB}"/>
                  </a:ext>
                </a:extLst>
              </p:cNvPr>
              <p:cNvSpPr/>
              <p:nvPr/>
            </p:nvSpPr>
            <p:spPr>
              <a:xfrm>
                <a:off x="12458606"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B2E8C13C-72E6-347F-7068-3B5C296E0AD3}"/>
                  </a:ext>
                </a:extLst>
              </p:cNvPr>
              <p:cNvSpPr/>
              <p:nvPr/>
            </p:nvSpPr>
            <p:spPr>
              <a:xfrm>
                <a:off x="17130570" y="10183845"/>
                <a:ext cx="1142599" cy="2945922"/>
              </a:xfrm>
              <a:custGeom>
                <a:avLst/>
                <a:gdLst>
                  <a:gd name="connsiteX0" fmla="*/ 1142600 w 1142599"/>
                  <a:gd name="connsiteY0" fmla="*/ 2945923 h 2945922"/>
                  <a:gd name="connsiteX1" fmla="*/ 0 w 1142599"/>
                  <a:gd name="connsiteY1" fmla="*/ 0 h 2945922"/>
                </a:gdLst>
                <a:ahLst/>
                <a:cxnLst>
                  <a:cxn ang="0">
                    <a:pos x="connsiteX0" y="connsiteY0"/>
                  </a:cxn>
                  <a:cxn ang="0">
                    <a:pos x="connsiteX1" y="connsiteY1"/>
                  </a:cxn>
                </a:cxnLst>
                <a:rect l="l" t="t" r="r" b="b"/>
                <a:pathLst>
                  <a:path w="1142599" h="2945922">
                    <a:moveTo>
                      <a:pt x="1142600" y="2945923"/>
                    </a:moveTo>
                    <a:cubicBezTo>
                      <a:pt x="1142600"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419D6AF-FA8F-2F34-2F06-C44DED3054BE}"/>
                  </a:ext>
                </a:extLst>
              </p:cNvPr>
              <p:cNvSpPr/>
              <p:nvPr/>
            </p:nvSpPr>
            <p:spPr>
              <a:xfrm>
                <a:off x="18806383" y="10183845"/>
                <a:ext cx="2428017" cy="2945922"/>
              </a:xfrm>
              <a:custGeom>
                <a:avLst/>
                <a:gdLst>
                  <a:gd name="connsiteX0" fmla="*/ 3859448 w 3859448"/>
                  <a:gd name="connsiteY0" fmla="*/ 2945923 h 2945922"/>
                  <a:gd name="connsiteX1" fmla="*/ 0 w 3859448"/>
                  <a:gd name="connsiteY1" fmla="*/ 0 h 2945922"/>
                </a:gdLst>
                <a:ahLst/>
                <a:cxnLst>
                  <a:cxn ang="0">
                    <a:pos x="connsiteX0" y="connsiteY0"/>
                  </a:cxn>
                  <a:cxn ang="0">
                    <a:pos x="connsiteX1" y="connsiteY1"/>
                  </a:cxn>
                </a:cxnLst>
                <a:rect l="l" t="t" r="r" b="b"/>
                <a:pathLst>
                  <a:path w="3859448" h="2945922">
                    <a:moveTo>
                      <a:pt x="3859448" y="2945923"/>
                    </a:moveTo>
                    <a:cubicBezTo>
                      <a:pt x="3859448"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17C2908-ECAB-A5AE-E1FE-57B99C07A69E}"/>
                  </a:ext>
                </a:extLst>
              </p:cNvPr>
              <p:cNvSpPr/>
              <p:nvPr/>
            </p:nvSpPr>
            <p:spPr>
              <a:xfrm>
                <a:off x="15607103" y="10183845"/>
                <a:ext cx="4265706" cy="2945922"/>
              </a:xfrm>
              <a:custGeom>
                <a:avLst/>
                <a:gdLst>
                  <a:gd name="connsiteX0" fmla="*/ 4265706 w 4265706"/>
                  <a:gd name="connsiteY0" fmla="*/ 2945923 h 2945922"/>
                  <a:gd name="connsiteX1" fmla="*/ 0 w 4265706"/>
                  <a:gd name="connsiteY1" fmla="*/ 0 h 2945922"/>
                </a:gdLst>
                <a:ahLst/>
                <a:cxnLst>
                  <a:cxn ang="0">
                    <a:pos x="connsiteX0" y="connsiteY0"/>
                  </a:cxn>
                  <a:cxn ang="0">
                    <a:pos x="connsiteX1" y="connsiteY1"/>
                  </a:cxn>
                </a:cxnLst>
                <a:rect l="l" t="t" r="r" b="b"/>
                <a:pathLst>
                  <a:path w="4265706" h="2945922">
                    <a:moveTo>
                      <a:pt x="4265706" y="2945923"/>
                    </a:moveTo>
                    <a:cubicBezTo>
                      <a:pt x="4265706" y="2175158"/>
                      <a:pt x="0" y="69965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066D4E50-959D-FD74-057C-B619F31F308E}"/>
                  </a:ext>
                </a:extLst>
              </p:cNvPr>
              <p:cNvSpPr/>
              <p:nvPr/>
            </p:nvSpPr>
            <p:spPr>
              <a:xfrm>
                <a:off x="18679427" y="7568068"/>
                <a:ext cx="2411040" cy="5561699"/>
              </a:xfrm>
              <a:custGeom>
                <a:avLst/>
                <a:gdLst>
                  <a:gd name="connsiteX0" fmla="*/ 2361373 w 2361372"/>
                  <a:gd name="connsiteY0" fmla="*/ 0 h 5561699"/>
                  <a:gd name="connsiteX1" fmla="*/ 0 w 2361372"/>
                  <a:gd name="connsiteY1" fmla="*/ 5561699 h 5561699"/>
                </a:gdLst>
                <a:ahLst/>
                <a:cxnLst>
                  <a:cxn ang="0">
                    <a:pos x="connsiteX0" y="connsiteY0"/>
                  </a:cxn>
                  <a:cxn ang="0">
                    <a:pos x="connsiteX1" y="connsiteY1"/>
                  </a:cxn>
                </a:cxnLst>
                <a:rect l="l" t="t" r="r" b="b"/>
                <a:pathLst>
                  <a:path w="2361372" h="5561699">
                    <a:moveTo>
                      <a:pt x="2361373" y="0"/>
                    </a:moveTo>
                    <a:cubicBezTo>
                      <a:pt x="2361373" y="1219003"/>
                      <a:pt x="0" y="3326861"/>
                      <a:pt x="0" y="556169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C3860A2A-D9E0-1CD3-975E-B3EC5BE8FC19}"/>
                  </a:ext>
                </a:extLst>
              </p:cNvPr>
              <p:cNvSpPr/>
              <p:nvPr/>
            </p:nvSpPr>
            <p:spPr>
              <a:xfrm>
                <a:off x="21269320" y="7568068"/>
                <a:ext cx="2513719" cy="2920526"/>
              </a:xfrm>
              <a:custGeom>
                <a:avLst/>
                <a:gdLst>
                  <a:gd name="connsiteX0" fmla="*/ 0 w 2513719"/>
                  <a:gd name="connsiteY0" fmla="*/ 0 h 2920526"/>
                  <a:gd name="connsiteX1" fmla="*/ 2513720 w 2513719"/>
                  <a:gd name="connsiteY1" fmla="*/ 2920527 h 2920526"/>
                </a:gdLst>
                <a:ahLst/>
                <a:cxnLst>
                  <a:cxn ang="0">
                    <a:pos x="connsiteX0" y="connsiteY0"/>
                  </a:cxn>
                  <a:cxn ang="0">
                    <a:pos x="connsiteX1" y="connsiteY1"/>
                  </a:cxn>
                </a:cxnLst>
                <a:rect l="l" t="t" r="r" b="b"/>
                <a:pathLst>
                  <a:path w="2513719" h="2920526">
                    <a:moveTo>
                      <a:pt x="0" y="0"/>
                    </a:moveTo>
                    <a:cubicBezTo>
                      <a:pt x="0" y="1219003"/>
                      <a:pt x="2513720" y="1803108"/>
                      <a:pt x="2513720" y="2920527"/>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1F6A2762-C87D-9A74-BC01-BD2C0878A8DB}"/>
                </a:ext>
              </a:extLst>
            </p:cNvPr>
            <p:cNvGrpSpPr/>
            <p:nvPr/>
          </p:nvGrpSpPr>
          <p:grpSpPr>
            <a:xfrm>
              <a:off x="12204695" y="4825313"/>
              <a:ext cx="3427799" cy="5993429"/>
              <a:chOff x="12204695" y="4825313"/>
              <a:chExt cx="3427799" cy="5993429"/>
            </a:xfrm>
          </p:grpSpPr>
          <p:sp>
            <p:nvSpPr>
              <p:cNvPr id="14" name="Freeform: Shape 13">
                <a:extLst>
                  <a:ext uri="{FF2B5EF4-FFF2-40B4-BE49-F238E27FC236}">
                    <a16:creationId xmlns:a16="http://schemas.microsoft.com/office/drawing/2014/main" id="{1C1B9732-F7CC-405A-B1F2-F442C07A1938}"/>
                  </a:ext>
                </a:extLst>
              </p:cNvPr>
              <p:cNvSpPr/>
              <p:nvPr/>
            </p:nvSpPr>
            <p:spPr>
              <a:xfrm>
                <a:off x="12204695" y="4825313"/>
                <a:ext cx="3427799" cy="5993429"/>
              </a:xfrm>
              <a:custGeom>
                <a:avLst/>
                <a:gdLst>
                  <a:gd name="connsiteX0" fmla="*/ 0 w 3427799"/>
                  <a:gd name="connsiteY0" fmla="*/ 5993429 h 5993429"/>
                  <a:gd name="connsiteX1" fmla="*/ 3427800 w 3427799"/>
                  <a:gd name="connsiteY1" fmla="*/ 0 h 5993429"/>
                </a:gdLst>
                <a:ahLst/>
                <a:cxnLst>
                  <a:cxn ang="0">
                    <a:pos x="connsiteX0" y="connsiteY0"/>
                  </a:cxn>
                  <a:cxn ang="0">
                    <a:pos x="connsiteX1" y="connsiteY1"/>
                  </a:cxn>
                </a:cxnLst>
                <a:rect l="l" t="t" r="r" b="b"/>
                <a:pathLst>
                  <a:path w="3427799" h="5993429">
                    <a:moveTo>
                      <a:pt x="0" y="5993429"/>
                    </a:moveTo>
                    <a:cubicBezTo>
                      <a:pt x="0" y="4723635"/>
                      <a:pt x="3427800" y="2971319"/>
                      <a:pt x="342780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9B7D0C4A-249A-DF82-9BCD-F1DCE6A106AE}"/>
                  </a:ext>
                </a:extLst>
              </p:cNvPr>
              <p:cNvSpPr/>
              <p:nvPr/>
            </p:nvSpPr>
            <p:spPr>
              <a:xfrm>
                <a:off x="12204695" y="4825313"/>
                <a:ext cx="2666066" cy="2666568"/>
              </a:xfrm>
              <a:custGeom>
                <a:avLst/>
                <a:gdLst>
                  <a:gd name="connsiteX0" fmla="*/ 0 w 2666066"/>
                  <a:gd name="connsiteY0" fmla="*/ 2666568 h 2666568"/>
                  <a:gd name="connsiteX1" fmla="*/ 2666066 w 2666066"/>
                  <a:gd name="connsiteY1" fmla="*/ 0 h 2666568"/>
                </a:gdLst>
                <a:ahLst/>
                <a:cxnLst>
                  <a:cxn ang="0">
                    <a:pos x="connsiteX0" y="connsiteY0"/>
                  </a:cxn>
                  <a:cxn ang="0">
                    <a:pos x="connsiteX1" y="connsiteY1"/>
                  </a:cxn>
                </a:cxnLst>
                <a:rect l="l" t="t" r="r" b="b"/>
                <a:pathLst>
                  <a:path w="2666066" h="2666568">
                    <a:moveTo>
                      <a:pt x="0" y="2666568"/>
                    </a:moveTo>
                    <a:cubicBezTo>
                      <a:pt x="0" y="1777712"/>
                      <a:pt x="2666066" y="939648"/>
                      <a:pt x="2666066"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FE80BCA8-027B-D15E-8990-C1F01843FE36}"/>
                  </a:ext>
                </a:extLst>
              </p:cNvPr>
              <p:cNvSpPr/>
              <p:nvPr/>
            </p:nvSpPr>
            <p:spPr>
              <a:xfrm>
                <a:off x="12204695" y="4825313"/>
                <a:ext cx="2869195" cy="4647447"/>
              </a:xfrm>
              <a:custGeom>
                <a:avLst/>
                <a:gdLst>
                  <a:gd name="connsiteX0" fmla="*/ 0 w 2869195"/>
                  <a:gd name="connsiteY0" fmla="*/ 4647448 h 4647447"/>
                  <a:gd name="connsiteX1" fmla="*/ 2869195 w 2869195"/>
                  <a:gd name="connsiteY1" fmla="*/ 0 h 4647447"/>
                </a:gdLst>
                <a:ahLst/>
                <a:cxnLst>
                  <a:cxn ang="0">
                    <a:pos x="connsiteX0" y="connsiteY0"/>
                  </a:cxn>
                  <a:cxn ang="0">
                    <a:pos x="connsiteX1" y="connsiteY1"/>
                  </a:cxn>
                </a:cxnLst>
                <a:rect l="l" t="t" r="r" b="b"/>
                <a:pathLst>
                  <a:path w="2869195" h="4647447">
                    <a:moveTo>
                      <a:pt x="0" y="4647448"/>
                    </a:moveTo>
                    <a:cubicBezTo>
                      <a:pt x="0" y="3682404"/>
                      <a:pt x="2869195" y="2336422"/>
                      <a:pt x="286919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68" name="Group 67">
            <a:extLst>
              <a:ext uri="{FF2B5EF4-FFF2-40B4-BE49-F238E27FC236}">
                <a16:creationId xmlns:a16="http://schemas.microsoft.com/office/drawing/2014/main" id="{55ADA571-2999-C224-769A-DEC93B14CC17}"/>
              </a:ext>
              <a:ext uri="{C183D7F6-B498-43B3-948B-1728B52AA6E4}">
                <adec:decorative xmlns:adec="http://schemas.microsoft.com/office/drawing/2017/decorative" val="1"/>
              </a:ext>
            </a:extLst>
          </p:cNvPr>
          <p:cNvGrpSpPr/>
          <p:nvPr/>
        </p:nvGrpSpPr>
        <p:grpSpPr>
          <a:xfrm>
            <a:off x="6191217" y="292100"/>
            <a:ext cx="4037187" cy="4273809"/>
            <a:chOff x="12382433" y="584199"/>
            <a:chExt cx="8074373" cy="8547617"/>
          </a:xfrm>
        </p:grpSpPr>
        <p:sp>
          <p:nvSpPr>
            <p:cNvPr id="69" name="Freeform: Shape 68">
              <a:extLst>
                <a:ext uri="{FF2B5EF4-FFF2-40B4-BE49-F238E27FC236}">
                  <a16:creationId xmlns:a16="http://schemas.microsoft.com/office/drawing/2014/main" id="{85CBC6C4-6260-9A81-1181-DC4B0913E128}"/>
                </a:ext>
              </a:extLst>
            </p:cNvPr>
            <p:cNvSpPr/>
            <p:nvPr/>
          </p:nvSpPr>
          <p:spPr>
            <a:xfrm>
              <a:off x="12382433" y="584199"/>
              <a:ext cx="3250061" cy="8547617"/>
            </a:xfrm>
            <a:custGeom>
              <a:avLst/>
              <a:gdLst>
                <a:gd name="connsiteX0" fmla="*/ 3250062 w 3250061"/>
                <a:gd name="connsiteY0" fmla="*/ 8036782 h 8036782"/>
                <a:gd name="connsiteX1" fmla="*/ 0 w 3250061"/>
                <a:gd name="connsiteY1" fmla="*/ 0 h 8036782"/>
              </a:gdLst>
              <a:ahLst/>
              <a:cxnLst>
                <a:cxn ang="0">
                  <a:pos x="connsiteX0" y="connsiteY0"/>
                </a:cxn>
                <a:cxn ang="0">
                  <a:pos x="connsiteX1" y="connsiteY1"/>
                </a:cxn>
              </a:cxnLst>
              <a:rect l="l" t="t" r="r" b="b"/>
              <a:pathLst>
                <a:path w="3250061" h="8036782">
                  <a:moveTo>
                    <a:pt x="3250062" y="8036782"/>
                  </a:moveTo>
                  <a:cubicBezTo>
                    <a:pt x="3250062" y="5993429"/>
                    <a:pt x="0" y="4622052"/>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6CAA74-17F7-8F70-2C9E-00FBD14B0715}"/>
                </a:ext>
              </a:extLst>
            </p:cNvPr>
            <p:cNvSpPr/>
            <p:nvPr/>
          </p:nvSpPr>
          <p:spPr>
            <a:xfrm>
              <a:off x="14531455" y="4825313"/>
              <a:ext cx="2753999" cy="4306502"/>
            </a:xfrm>
            <a:custGeom>
              <a:avLst/>
              <a:gdLst>
                <a:gd name="connsiteX0" fmla="*/ 3201819 w 3201818"/>
                <a:gd name="connsiteY0" fmla="*/ 3795669 h 3795669"/>
                <a:gd name="connsiteX1" fmla="*/ 0 w 3201818"/>
                <a:gd name="connsiteY1" fmla="*/ 0 h 3795669"/>
              </a:gdLst>
              <a:ahLst/>
              <a:cxnLst>
                <a:cxn ang="0">
                  <a:pos x="connsiteX0" y="connsiteY0"/>
                </a:cxn>
                <a:cxn ang="0">
                  <a:pos x="connsiteX1" y="connsiteY1"/>
                </a:cxn>
              </a:cxnLst>
              <a:rect l="l" t="t" r="r" b="b"/>
              <a:pathLst>
                <a:path w="3201818" h="3795669">
                  <a:moveTo>
                    <a:pt x="3201819" y="3795669"/>
                  </a:moveTo>
                  <a:cubicBezTo>
                    <a:pt x="3201819" y="3123694"/>
                    <a:pt x="0" y="939648"/>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AEA69DB-0B4C-3445-049A-9EA9FF439953}"/>
                </a:ext>
              </a:extLst>
            </p:cNvPr>
            <p:cNvSpPr/>
            <p:nvPr/>
          </p:nvSpPr>
          <p:spPr>
            <a:xfrm>
              <a:off x="17508512" y="7568068"/>
              <a:ext cx="1603948" cy="1563747"/>
            </a:xfrm>
            <a:custGeom>
              <a:avLst/>
              <a:gdLst>
                <a:gd name="connsiteX0" fmla="*/ 787124 w 787124"/>
                <a:gd name="connsiteY0" fmla="*/ 0 h 1052913"/>
                <a:gd name="connsiteX1" fmla="*/ 0 w 787124"/>
                <a:gd name="connsiteY1" fmla="*/ 1052913 h 1052913"/>
              </a:gdLst>
              <a:ahLst/>
              <a:cxnLst>
                <a:cxn ang="0">
                  <a:pos x="connsiteX0" y="connsiteY0"/>
                </a:cxn>
                <a:cxn ang="0">
                  <a:pos x="connsiteX1" y="connsiteY1"/>
                </a:cxn>
              </a:cxnLst>
              <a:rect l="l" t="t" r="r" b="b"/>
              <a:pathLst>
                <a:path w="787124" h="1052913">
                  <a:moveTo>
                    <a:pt x="787124" y="0"/>
                  </a:moveTo>
                  <a:cubicBezTo>
                    <a:pt x="787124" y="507918"/>
                    <a:pt x="0" y="685689"/>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6494C65-DD37-EF60-84F8-924374B5A87E}"/>
                </a:ext>
              </a:extLst>
            </p:cNvPr>
            <p:cNvSpPr/>
            <p:nvPr/>
          </p:nvSpPr>
          <p:spPr>
            <a:xfrm>
              <a:off x="16511353" y="7568068"/>
              <a:ext cx="3843888" cy="1563747"/>
            </a:xfrm>
            <a:custGeom>
              <a:avLst/>
              <a:gdLst>
                <a:gd name="connsiteX0" fmla="*/ 1675813 w 1675813"/>
                <a:gd name="connsiteY0" fmla="*/ 0 h 1052913"/>
                <a:gd name="connsiteX1" fmla="*/ 0 w 1675813"/>
                <a:gd name="connsiteY1" fmla="*/ 1052913 h 1052913"/>
              </a:gdLst>
              <a:ahLst/>
              <a:cxnLst>
                <a:cxn ang="0">
                  <a:pos x="connsiteX0" y="connsiteY0"/>
                </a:cxn>
                <a:cxn ang="0">
                  <a:pos x="connsiteX1" y="connsiteY1"/>
                </a:cxn>
              </a:cxnLst>
              <a:rect l="l" t="t" r="r" b="b"/>
              <a:pathLst>
                <a:path w="1675813" h="1052913">
                  <a:moveTo>
                    <a:pt x="1675813" y="0"/>
                  </a:moveTo>
                  <a:cubicBezTo>
                    <a:pt x="1675813" y="317449"/>
                    <a:pt x="0" y="459919"/>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2EC54E31-C0FC-499C-1F18-FD235C870722}"/>
                </a:ext>
              </a:extLst>
            </p:cNvPr>
            <p:cNvSpPr/>
            <p:nvPr/>
          </p:nvSpPr>
          <p:spPr>
            <a:xfrm>
              <a:off x="18048157" y="7568068"/>
              <a:ext cx="1670647" cy="1563747"/>
            </a:xfrm>
            <a:custGeom>
              <a:avLst/>
              <a:gdLst>
                <a:gd name="connsiteX0" fmla="*/ 710951 w 710951"/>
                <a:gd name="connsiteY0" fmla="*/ 0 h 1052913"/>
                <a:gd name="connsiteX1" fmla="*/ 0 w 710951"/>
                <a:gd name="connsiteY1" fmla="*/ 1052913 h 1052913"/>
              </a:gdLst>
              <a:ahLst/>
              <a:cxnLst>
                <a:cxn ang="0">
                  <a:pos x="connsiteX0" y="connsiteY0"/>
                </a:cxn>
                <a:cxn ang="0">
                  <a:pos x="connsiteX1" y="connsiteY1"/>
                </a:cxn>
              </a:cxnLst>
              <a:rect l="l" t="t" r="r" b="b"/>
              <a:pathLst>
                <a:path w="710951" h="1052913">
                  <a:moveTo>
                    <a:pt x="710951" y="0"/>
                  </a:moveTo>
                  <a:cubicBezTo>
                    <a:pt x="710951" y="502076"/>
                    <a:pt x="0" y="434523"/>
                    <a:pt x="0" y="1052913"/>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F205E6B5-DD75-3449-427F-00D08A17E27D}"/>
                </a:ext>
              </a:extLst>
            </p:cNvPr>
            <p:cNvSpPr/>
            <p:nvPr/>
          </p:nvSpPr>
          <p:spPr>
            <a:xfrm>
              <a:off x="15200846" y="4825313"/>
              <a:ext cx="2142684" cy="4306502"/>
            </a:xfrm>
            <a:custGeom>
              <a:avLst/>
              <a:gdLst>
                <a:gd name="connsiteX0" fmla="*/ 0 w 2894586"/>
                <a:gd name="connsiteY0" fmla="*/ 0 h 3795669"/>
                <a:gd name="connsiteX1" fmla="*/ 2894586 w 2894586"/>
                <a:gd name="connsiteY1" fmla="*/ 3795669 h 3795669"/>
              </a:gdLst>
              <a:ahLst/>
              <a:cxnLst>
                <a:cxn ang="0">
                  <a:pos x="connsiteX0" y="connsiteY0"/>
                </a:cxn>
                <a:cxn ang="0">
                  <a:pos x="connsiteX1" y="connsiteY1"/>
                </a:cxn>
              </a:cxnLst>
              <a:rect l="l" t="t" r="r" b="b"/>
              <a:pathLst>
                <a:path w="2894586" h="3795669">
                  <a:moveTo>
                    <a:pt x="0" y="0"/>
                  </a:moveTo>
                  <a:cubicBezTo>
                    <a:pt x="0" y="1015835"/>
                    <a:pt x="2894586" y="2742756"/>
                    <a:pt x="2894586" y="3795669"/>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FEC3397-670A-1A94-19ED-5E880E5EC743}"/>
                </a:ext>
              </a:extLst>
            </p:cNvPr>
            <p:cNvSpPr/>
            <p:nvPr/>
          </p:nvSpPr>
          <p:spPr>
            <a:xfrm>
              <a:off x="15723114" y="584200"/>
              <a:ext cx="4733692" cy="8547616"/>
            </a:xfrm>
            <a:custGeom>
              <a:avLst/>
              <a:gdLst>
                <a:gd name="connsiteX0" fmla="*/ 0 w 4113359"/>
                <a:gd name="connsiteY0" fmla="*/ 8036782 h 8036782"/>
                <a:gd name="connsiteX1" fmla="*/ 4113359 w 4113359"/>
                <a:gd name="connsiteY1" fmla="*/ 0 h 8036782"/>
              </a:gdLst>
              <a:ahLst/>
              <a:cxnLst>
                <a:cxn ang="0">
                  <a:pos x="connsiteX0" y="connsiteY0"/>
                </a:cxn>
                <a:cxn ang="0">
                  <a:pos x="connsiteX1" y="connsiteY1"/>
                </a:cxn>
              </a:cxnLst>
              <a:rect l="l" t="t" r="r" b="b"/>
              <a:pathLst>
                <a:path w="4113359" h="8036782">
                  <a:moveTo>
                    <a:pt x="0" y="8036782"/>
                  </a:moveTo>
                  <a:cubicBezTo>
                    <a:pt x="0" y="6552139"/>
                    <a:pt x="4113359" y="2768152"/>
                    <a:pt x="4113359"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AB834DBD-62E4-057E-DA3E-B06F8D0B1525}"/>
                </a:ext>
              </a:extLst>
            </p:cNvPr>
            <p:cNvSpPr/>
            <p:nvPr/>
          </p:nvSpPr>
          <p:spPr>
            <a:xfrm>
              <a:off x="16140317" y="4825313"/>
              <a:ext cx="952165" cy="4306503"/>
            </a:xfrm>
            <a:custGeom>
              <a:avLst/>
              <a:gdLst>
                <a:gd name="connsiteX0" fmla="*/ 0 w 1574248"/>
                <a:gd name="connsiteY0" fmla="*/ 3795669 h 3795669"/>
                <a:gd name="connsiteX1" fmla="*/ 1574249 w 1574248"/>
                <a:gd name="connsiteY1" fmla="*/ 0 h 3795669"/>
              </a:gdLst>
              <a:ahLst/>
              <a:cxnLst>
                <a:cxn ang="0">
                  <a:pos x="connsiteX0" y="connsiteY0"/>
                </a:cxn>
                <a:cxn ang="0">
                  <a:pos x="connsiteX1" y="connsiteY1"/>
                </a:cxn>
              </a:cxnLst>
              <a:rect l="l" t="t" r="r" b="b"/>
              <a:pathLst>
                <a:path w="1574248" h="3795669">
                  <a:moveTo>
                    <a:pt x="0" y="3795669"/>
                  </a:moveTo>
                  <a:cubicBezTo>
                    <a:pt x="0" y="2564985"/>
                    <a:pt x="1574249" y="863460"/>
                    <a:pt x="1574249"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D6972C8-FDA5-D6D5-BF12-261660EC948E}"/>
                </a:ext>
              </a:extLst>
            </p:cNvPr>
            <p:cNvSpPr/>
            <p:nvPr/>
          </p:nvSpPr>
          <p:spPr>
            <a:xfrm>
              <a:off x="15096996" y="4825313"/>
              <a:ext cx="1424187" cy="4306503"/>
            </a:xfrm>
            <a:custGeom>
              <a:avLst/>
              <a:gdLst>
                <a:gd name="connsiteX0" fmla="*/ 0 w 1424187"/>
                <a:gd name="connsiteY0" fmla="*/ 3795669 h 3795669"/>
                <a:gd name="connsiteX1" fmla="*/ 1424187 w 1424187"/>
                <a:gd name="connsiteY1" fmla="*/ 0 h 3795669"/>
              </a:gdLst>
              <a:ahLst/>
              <a:cxnLst>
                <a:cxn ang="0">
                  <a:pos x="connsiteX0" y="connsiteY0"/>
                </a:cxn>
                <a:cxn ang="0">
                  <a:pos x="connsiteX1" y="connsiteY1"/>
                </a:cxn>
              </a:cxnLst>
              <a:rect l="l" t="t" r="r" b="b"/>
              <a:pathLst>
                <a:path w="1424187" h="3795669">
                  <a:moveTo>
                    <a:pt x="0" y="3795669"/>
                  </a:moveTo>
                  <a:cubicBezTo>
                    <a:pt x="0" y="2082463"/>
                    <a:pt x="1424187" y="939648"/>
                    <a:pt x="1424187"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4" name="Group 83">
            <a:extLst>
              <a:ext uri="{FF2B5EF4-FFF2-40B4-BE49-F238E27FC236}">
                <a16:creationId xmlns:a16="http://schemas.microsoft.com/office/drawing/2014/main" id="{55E5D831-0304-54F1-A6BD-C2532501B494}"/>
              </a:ext>
              <a:ext uri="{C183D7F6-B498-43B3-948B-1728B52AA6E4}">
                <adec:decorative xmlns:adec="http://schemas.microsoft.com/office/drawing/2017/decorative" val="1"/>
              </a:ext>
            </a:extLst>
          </p:cNvPr>
          <p:cNvGrpSpPr/>
          <p:nvPr/>
        </p:nvGrpSpPr>
        <p:grpSpPr>
          <a:xfrm>
            <a:off x="7981289" y="292100"/>
            <a:ext cx="3910231" cy="2960659"/>
            <a:chOff x="15962578" y="584200"/>
            <a:chExt cx="7820462" cy="5921318"/>
          </a:xfrm>
        </p:grpSpPr>
        <p:sp>
          <p:nvSpPr>
            <p:cNvPr id="85" name="Freeform: Shape 84">
              <a:extLst>
                <a:ext uri="{FF2B5EF4-FFF2-40B4-BE49-F238E27FC236}">
                  <a16:creationId xmlns:a16="http://schemas.microsoft.com/office/drawing/2014/main" id="{CB266589-3905-9715-ABD0-7D64FBB69384}"/>
                </a:ext>
              </a:extLst>
            </p:cNvPr>
            <p:cNvSpPr/>
            <p:nvPr/>
          </p:nvSpPr>
          <p:spPr>
            <a:xfrm>
              <a:off x="20939236" y="3606310"/>
              <a:ext cx="2843804" cy="2899204"/>
            </a:xfrm>
            <a:custGeom>
              <a:avLst/>
              <a:gdLst>
                <a:gd name="connsiteX0" fmla="*/ 0 w 2843804"/>
                <a:gd name="connsiteY0" fmla="*/ 2361818 h 2361817"/>
                <a:gd name="connsiteX1" fmla="*/ 2843804 w 2843804"/>
                <a:gd name="connsiteY1" fmla="*/ 0 h 2361817"/>
              </a:gdLst>
              <a:ahLst/>
              <a:cxnLst>
                <a:cxn ang="0">
                  <a:pos x="connsiteX0" y="connsiteY0"/>
                </a:cxn>
                <a:cxn ang="0">
                  <a:pos x="connsiteX1" y="connsiteY1"/>
                </a:cxn>
              </a:cxnLst>
              <a:rect l="l" t="t" r="r" b="b"/>
              <a:pathLst>
                <a:path w="2843804" h="2361817">
                  <a:moveTo>
                    <a:pt x="0" y="2361818"/>
                  </a:moveTo>
                  <a:cubicBezTo>
                    <a:pt x="0" y="1092023"/>
                    <a:pt x="2843804" y="1193607"/>
                    <a:pt x="2843804"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3546865-9482-15B5-4D46-68E18DC796D1}"/>
                </a:ext>
              </a:extLst>
            </p:cNvPr>
            <p:cNvSpPr/>
            <p:nvPr/>
          </p:nvSpPr>
          <p:spPr>
            <a:xfrm>
              <a:off x="20380631" y="2412702"/>
              <a:ext cx="3402409" cy="4092811"/>
            </a:xfrm>
            <a:custGeom>
              <a:avLst/>
              <a:gdLst>
                <a:gd name="connsiteX0" fmla="*/ 0 w 3326235"/>
                <a:gd name="connsiteY0" fmla="*/ 3555424 h 3555424"/>
                <a:gd name="connsiteX1" fmla="*/ 3326235 w 3326235"/>
                <a:gd name="connsiteY1" fmla="*/ 0 h 3555424"/>
              </a:gdLst>
              <a:ahLst/>
              <a:cxnLst>
                <a:cxn ang="0">
                  <a:pos x="connsiteX0" y="connsiteY0"/>
                </a:cxn>
                <a:cxn ang="0">
                  <a:pos x="connsiteX1" y="connsiteY1"/>
                </a:cxn>
              </a:cxnLst>
              <a:rect l="l" t="t" r="r" b="b"/>
              <a:pathLst>
                <a:path w="3326235" h="3555424">
                  <a:moveTo>
                    <a:pt x="0" y="3555424"/>
                  </a:moveTo>
                  <a:cubicBezTo>
                    <a:pt x="0" y="2285630"/>
                    <a:pt x="3326235" y="1777712"/>
                    <a:pt x="332623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DCE4BC94-681E-5704-FD53-93884DD71E5C}"/>
                </a:ext>
              </a:extLst>
            </p:cNvPr>
            <p:cNvSpPr/>
            <p:nvPr/>
          </p:nvSpPr>
          <p:spPr>
            <a:xfrm>
              <a:off x="16800485" y="584200"/>
              <a:ext cx="4747471" cy="5921316"/>
            </a:xfrm>
            <a:custGeom>
              <a:avLst/>
              <a:gdLst>
                <a:gd name="connsiteX0" fmla="*/ 5459088 w 5459088"/>
                <a:gd name="connsiteY0" fmla="*/ 5383928 h 5383927"/>
                <a:gd name="connsiteX1" fmla="*/ 0 w 5459088"/>
                <a:gd name="connsiteY1" fmla="*/ 0 h 5383927"/>
              </a:gdLst>
              <a:ahLst/>
              <a:cxnLst>
                <a:cxn ang="0">
                  <a:pos x="connsiteX0" y="connsiteY0"/>
                </a:cxn>
                <a:cxn ang="0">
                  <a:pos x="connsiteX1" y="connsiteY1"/>
                </a:cxn>
              </a:cxnLst>
              <a:rect l="l" t="t" r="r" b="b"/>
              <a:pathLst>
                <a:path w="5459088" h="5383927">
                  <a:moveTo>
                    <a:pt x="5459088" y="5383928"/>
                  </a:moveTo>
                  <a:cubicBezTo>
                    <a:pt x="5459088" y="4571260"/>
                    <a:pt x="0" y="1650733"/>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BD2CD9C6-29FD-23BB-D1D8-6CE98CE183BA}"/>
                </a:ext>
              </a:extLst>
            </p:cNvPr>
            <p:cNvSpPr/>
            <p:nvPr/>
          </p:nvSpPr>
          <p:spPr>
            <a:xfrm>
              <a:off x="18831774" y="584200"/>
              <a:ext cx="2818412" cy="5921318"/>
            </a:xfrm>
            <a:custGeom>
              <a:avLst/>
              <a:gdLst>
                <a:gd name="connsiteX0" fmla="*/ 2818413 w 2818412"/>
                <a:gd name="connsiteY0" fmla="*/ 5383928 h 5383927"/>
                <a:gd name="connsiteX1" fmla="*/ 0 w 2818412"/>
                <a:gd name="connsiteY1" fmla="*/ 0 h 5383927"/>
              </a:gdLst>
              <a:ahLst/>
              <a:cxnLst>
                <a:cxn ang="0">
                  <a:pos x="connsiteX0" y="connsiteY0"/>
                </a:cxn>
                <a:cxn ang="0">
                  <a:pos x="connsiteX1" y="connsiteY1"/>
                </a:cxn>
              </a:cxnLst>
              <a:rect l="l" t="t" r="r" b="b"/>
              <a:pathLst>
                <a:path w="2818412" h="5383927">
                  <a:moveTo>
                    <a:pt x="2818413" y="5383928"/>
                  </a:moveTo>
                  <a:cubicBezTo>
                    <a:pt x="2818413" y="3377653"/>
                    <a:pt x="0" y="1676129"/>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89" name="Group 88">
              <a:extLst>
                <a:ext uri="{FF2B5EF4-FFF2-40B4-BE49-F238E27FC236}">
                  <a16:creationId xmlns:a16="http://schemas.microsoft.com/office/drawing/2014/main" id="{CF7BE1A8-B5F3-02FD-3E15-A92A8AEEE011}"/>
                </a:ext>
              </a:extLst>
            </p:cNvPr>
            <p:cNvGrpSpPr/>
            <p:nvPr/>
          </p:nvGrpSpPr>
          <p:grpSpPr>
            <a:xfrm>
              <a:off x="15962578" y="584200"/>
              <a:ext cx="7211075" cy="5921313"/>
              <a:chOff x="15962578" y="584200"/>
              <a:chExt cx="7211075" cy="5921313"/>
            </a:xfrm>
          </p:grpSpPr>
          <p:sp>
            <p:nvSpPr>
              <p:cNvPr id="90" name="Freeform: Shape 89">
                <a:extLst>
                  <a:ext uri="{FF2B5EF4-FFF2-40B4-BE49-F238E27FC236}">
                    <a16:creationId xmlns:a16="http://schemas.microsoft.com/office/drawing/2014/main" id="{2E8C663E-43A7-FE63-65C4-2452D0837743}"/>
                  </a:ext>
                </a:extLst>
              </p:cNvPr>
              <p:cNvSpPr/>
              <p:nvPr/>
            </p:nvSpPr>
            <p:spPr>
              <a:xfrm>
                <a:off x="15962578" y="4825313"/>
                <a:ext cx="3471897" cy="1680200"/>
              </a:xfrm>
              <a:custGeom>
                <a:avLst/>
                <a:gdLst>
                  <a:gd name="connsiteX0" fmla="*/ 2666066 w 2666066"/>
                  <a:gd name="connsiteY0" fmla="*/ 1142815 h 1142814"/>
                  <a:gd name="connsiteX1" fmla="*/ 0 w 2666066"/>
                  <a:gd name="connsiteY1" fmla="*/ 0 h 1142814"/>
                </a:gdLst>
                <a:ahLst/>
                <a:cxnLst>
                  <a:cxn ang="0">
                    <a:pos x="connsiteX0" y="connsiteY0"/>
                  </a:cxn>
                  <a:cxn ang="0">
                    <a:pos x="connsiteX1" y="connsiteY1"/>
                  </a:cxn>
                </a:cxnLst>
                <a:rect l="l" t="t" r="r" b="b"/>
                <a:pathLst>
                  <a:path w="2666066" h="1142814">
                    <a:moveTo>
                      <a:pt x="2666066" y="1142815"/>
                    </a:moveTo>
                    <a:cubicBezTo>
                      <a:pt x="2666066" y="676800"/>
                      <a:pt x="0" y="457126"/>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A1335E7-9110-895C-A66F-C63F31890C19}"/>
                  </a:ext>
                </a:extLst>
              </p:cNvPr>
              <p:cNvSpPr/>
              <p:nvPr/>
            </p:nvSpPr>
            <p:spPr>
              <a:xfrm>
                <a:off x="16698921" y="4825313"/>
                <a:ext cx="3503972" cy="1680200"/>
              </a:xfrm>
              <a:custGeom>
                <a:avLst/>
                <a:gdLst>
                  <a:gd name="connsiteX0" fmla="*/ 3046933 w 3046932"/>
                  <a:gd name="connsiteY0" fmla="*/ 1142815 h 1142814"/>
                  <a:gd name="connsiteX1" fmla="*/ 0 w 3046932"/>
                  <a:gd name="connsiteY1" fmla="*/ 0 h 1142814"/>
                </a:gdLst>
                <a:ahLst/>
                <a:cxnLst>
                  <a:cxn ang="0">
                    <a:pos x="connsiteX0" y="connsiteY0"/>
                  </a:cxn>
                  <a:cxn ang="0">
                    <a:pos x="connsiteX1" y="connsiteY1"/>
                  </a:cxn>
                </a:cxnLst>
                <a:rect l="l" t="t" r="r" b="b"/>
                <a:pathLst>
                  <a:path w="3046932" h="1142814">
                    <a:moveTo>
                      <a:pt x="3046933" y="1142815"/>
                    </a:moveTo>
                    <a:cubicBezTo>
                      <a:pt x="3046933" y="711085"/>
                      <a:pt x="0" y="355542"/>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01641DE-47AE-E4C2-07C1-CE5BD6C7D6DC}"/>
                  </a:ext>
                </a:extLst>
              </p:cNvPr>
              <p:cNvSpPr/>
              <p:nvPr/>
            </p:nvSpPr>
            <p:spPr>
              <a:xfrm>
                <a:off x="19618964" y="584200"/>
                <a:ext cx="3554689" cy="5921313"/>
              </a:xfrm>
              <a:custGeom>
                <a:avLst/>
                <a:gdLst>
                  <a:gd name="connsiteX0" fmla="*/ 0 w 4291097"/>
                  <a:gd name="connsiteY0" fmla="*/ 5383928 h 5383927"/>
                  <a:gd name="connsiteX1" fmla="*/ 4291097 w 4291097"/>
                  <a:gd name="connsiteY1" fmla="*/ 0 h 5383927"/>
                </a:gdLst>
                <a:ahLst/>
                <a:cxnLst>
                  <a:cxn ang="0">
                    <a:pos x="connsiteX0" y="connsiteY0"/>
                  </a:cxn>
                  <a:cxn ang="0">
                    <a:pos x="connsiteX1" y="connsiteY1"/>
                  </a:cxn>
                </a:cxnLst>
                <a:rect l="l" t="t" r="r" b="b"/>
                <a:pathLst>
                  <a:path w="4291097" h="5383927">
                    <a:moveTo>
                      <a:pt x="0" y="5383928"/>
                    </a:moveTo>
                    <a:cubicBezTo>
                      <a:pt x="0" y="3631612"/>
                      <a:pt x="4291097" y="1422170"/>
                      <a:pt x="4291097"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93" name="Group 92">
            <a:extLst>
              <a:ext uri="{FF2B5EF4-FFF2-40B4-BE49-F238E27FC236}">
                <a16:creationId xmlns:a16="http://schemas.microsoft.com/office/drawing/2014/main" id="{FC23F39C-DF2B-7CAE-767A-A36880A24304}"/>
              </a:ext>
              <a:ext uri="{C183D7F6-B498-43B3-948B-1728B52AA6E4}">
                <adec:decorative xmlns:adec="http://schemas.microsoft.com/office/drawing/2017/decorative" val="1"/>
              </a:ext>
            </a:extLst>
          </p:cNvPr>
          <p:cNvGrpSpPr/>
          <p:nvPr/>
        </p:nvGrpSpPr>
        <p:grpSpPr>
          <a:xfrm>
            <a:off x="6559388" y="292100"/>
            <a:ext cx="3478582" cy="1599264"/>
            <a:chOff x="13118775" y="584200"/>
            <a:chExt cx="6957163" cy="2641172"/>
          </a:xfrm>
        </p:grpSpPr>
        <p:sp>
          <p:nvSpPr>
            <p:cNvPr id="94" name="Freeform: Shape 93">
              <a:extLst>
                <a:ext uri="{FF2B5EF4-FFF2-40B4-BE49-F238E27FC236}">
                  <a16:creationId xmlns:a16="http://schemas.microsoft.com/office/drawing/2014/main" id="{84DDA647-6828-4B4A-02B8-364EA42DCEFD}"/>
                </a:ext>
              </a:extLst>
            </p:cNvPr>
            <p:cNvSpPr/>
            <p:nvPr/>
          </p:nvSpPr>
          <p:spPr>
            <a:xfrm>
              <a:off x="13829726" y="584200"/>
              <a:ext cx="2107461" cy="2641172"/>
            </a:xfrm>
            <a:custGeom>
              <a:avLst/>
              <a:gdLst>
                <a:gd name="connsiteX0" fmla="*/ 0 w 2107461"/>
                <a:gd name="connsiteY0" fmla="*/ 2641172 h 2641172"/>
                <a:gd name="connsiteX1" fmla="*/ 2107462 w 2107461"/>
                <a:gd name="connsiteY1" fmla="*/ 0 h 2641172"/>
              </a:gdLst>
              <a:ahLst/>
              <a:cxnLst>
                <a:cxn ang="0">
                  <a:pos x="connsiteX0" y="connsiteY0"/>
                </a:cxn>
                <a:cxn ang="0">
                  <a:pos x="connsiteX1" y="connsiteY1"/>
                </a:cxn>
              </a:cxnLst>
              <a:rect l="l" t="t" r="r" b="b"/>
              <a:pathLst>
                <a:path w="2107461" h="2641172">
                  <a:moveTo>
                    <a:pt x="0" y="2641172"/>
                  </a:moveTo>
                  <a:cubicBezTo>
                    <a:pt x="0" y="1870407"/>
                    <a:pt x="2107462" y="699657"/>
                    <a:pt x="2107462"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73650A4-01FE-0291-5CB4-C78D2C6812E9}"/>
                </a:ext>
              </a:extLst>
            </p:cNvPr>
            <p:cNvSpPr/>
            <p:nvPr/>
          </p:nvSpPr>
          <p:spPr>
            <a:xfrm>
              <a:off x="14362939" y="584200"/>
              <a:ext cx="3021541" cy="2641172"/>
            </a:xfrm>
            <a:custGeom>
              <a:avLst/>
              <a:gdLst>
                <a:gd name="connsiteX0" fmla="*/ 0 w 3021541"/>
                <a:gd name="connsiteY0" fmla="*/ 2641172 h 2641172"/>
                <a:gd name="connsiteX1" fmla="*/ 3021542 w 3021541"/>
                <a:gd name="connsiteY1" fmla="*/ 0 h 2641172"/>
              </a:gdLst>
              <a:ahLst/>
              <a:cxnLst>
                <a:cxn ang="0">
                  <a:pos x="connsiteX0" y="connsiteY0"/>
                </a:cxn>
                <a:cxn ang="0">
                  <a:pos x="connsiteX1" y="connsiteY1"/>
                </a:cxn>
              </a:cxnLst>
              <a:rect l="l" t="t" r="r" b="b"/>
              <a:pathLst>
                <a:path w="3021541" h="2641172">
                  <a:moveTo>
                    <a:pt x="0" y="2641172"/>
                  </a:moveTo>
                  <a:cubicBezTo>
                    <a:pt x="0" y="1870407"/>
                    <a:pt x="3021542" y="699657"/>
                    <a:pt x="3021542"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587B82E-0A5F-F7D3-E6DD-C16ED65F992C}"/>
                </a:ext>
              </a:extLst>
            </p:cNvPr>
            <p:cNvSpPr/>
            <p:nvPr/>
          </p:nvSpPr>
          <p:spPr>
            <a:xfrm>
              <a:off x="13118775" y="584200"/>
              <a:ext cx="3148497" cy="2641172"/>
            </a:xfrm>
            <a:custGeom>
              <a:avLst/>
              <a:gdLst>
                <a:gd name="connsiteX0" fmla="*/ 3148497 w 3148497"/>
                <a:gd name="connsiteY0" fmla="*/ 2641172 h 2641172"/>
                <a:gd name="connsiteX1" fmla="*/ 0 w 3148497"/>
                <a:gd name="connsiteY1" fmla="*/ 0 h 2641172"/>
              </a:gdLst>
              <a:ahLst/>
              <a:cxnLst>
                <a:cxn ang="0">
                  <a:pos x="connsiteX0" y="connsiteY0"/>
                </a:cxn>
                <a:cxn ang="0">
                  <a:pos x="connsiteX1" y="connsiteY1"/>
                </a:cxn>
              </a:cxnLst>
              <a:rect l="l" t="t" r="r" b="b"/>
              <a:pathLst>
                <a:path w="3148497" h="2641172">
                  <a:moveTo>
                    <a:pt x="3148497" y="2641172"/>
                  </a:moveTo>
                  <a:cubicBezTo>
                    <a:pt x="3148497"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2407AD6B-9CCC-CCB2-70B0-064B4174D907}"/>
                </a:ext>
              </a:extLst>
            </p:cNvPr>
            <p:cNvSpPr/>
            <p:nvPr/>
          </p:nvSpPr>
          <p:spPr>
            <a:xfrm>
              <a:off x="13626597" y="584200"/>
              <a:ext cx="964862" cy="2641172"/>
            </a:xfrm>
            <a:custGeom>
              <a:avLst/>
              <a:gdLst>
                <a:gd name="connsiteX0" fmla="*/ 964862 w 964862"/>
                <a:gd name="connsiteY0" fmla="*/ 2641172 h 2641172"/>
                <a:gd name="connsiteX1" fmla="*/ 0 w 964862"/>
                <a:gd name="connsiteY1" fmla="*/ 0 h 2641172"/>
              </a:gdLst>
              <a:ahLst/>
              <a:cxnLst>
                <a:cxn ang="0">
                  <a:pos x="connsiteX0" y="connsiteY0"/>
                </a:cxn>
                <a:cxn ang="0">
                  <a:pos x="connsiteX1" y="connsiteY1"/>
                </a:cxn>
              </a:cxnLst>
              <a:rect l="l" t="t" r="r" b="b"/>
              <a:pathLst>
                <a:path w="964862" h="2641172">
                  <a:moveTo>
                    <a:pt x="964862" y="2641172"/>
                  </a:moveTo>
                  <a:cubicBezTo>
                    <a:pt x="964862"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110DA47-8A39-96C8-D3DA-4FA95847E8B5}"/>
                </a:ext>
              </a:extLst>
            </p:cNvPr>
            <p:cNvSpPr/>
            <p:nvPr/>
          </p:nvSpPr>
          <p:spPr>
            <a:xfrm>
              <a:off x="16749703" y="584200"/>
              <a:ext cx="3326235" cy="2641172"/>
            </a:xfrm>
            <a:custGeom>
              <a:avLst/>
              <a:gdLst>
                <a:gd name="connsiteX0" fmla="*/ 0 w 3326235"/>
                <a:gd name="connsiteY0" fmla="*/ 2641172 h 2641172"/>
                <a:gd name="connsiteX1" fmla="*/ 3326235 w 3326235"/>
                <a:gd name="connsiteY1" fmla="*/ 0 h 2641172"/>
              </a:gdLst>
              <a:ahLst/>
              <a:cxnLst>
                <a:cxn ang="0">
                  <a:pos x="connsiteX0" y="connsiteY0"/>
                </a:cxn>
                <a:cxn ang="0">
                  <a:pos x="connsiteX1" y="connsiteY1"/>
                </a:cxn>
              </a:cxnLst>
              <a:rect l="l" t="t" r="r" b="b"/>
              <a:pathLst>
                <a:path w="3326235" h="2641172">
                  <a:moveTo>
                    <a:pt x="0" y="2641172"/>
                  </a:moveTo>
                  <a:cubicBezTo>
                    <a:pt x="0" y="1870407"/>
                    <a:pt x="3326235" y="699657"/>
                    <a:pt x="3326235"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8BB893C3-FA96-DFDC-3F7C-DC567E2A6D86}"/>
                </a:ext>
              </a:extLst>
            </p:cNvPr>
            <p:cNvSpPr/>
            <p:nvPr/>
          </p:nvSpPr>
          <p:spPr>
            <a:xfrm>
              <a:off x="15835623" y="584200"/>
              <a:ext cx="2742239" cy="2641172"/>
            </a:xfrm>
            <a:custGeom>
              <a:avLst/>
              <a:gdLst>
                <a:gd name="connsiteX0" fmla="*/ 0 w 2742239"/>
                <a:gd name="connsiteY0" fmla="*/ 2641172 h 2641172"/>
                <a:gd name="connsiteX1" fmla="*/ 2742240 w 2742239"/>
                <a:gd name="connsiteY1" fmla="*/ 0 h 2641172"/>
              </a:gdLst>
              <a:ahLst/>
              <a:cxnLst>
                <a:cxn ang="0">
                  <a:pos x="connsiteX0" y="connsiteY0"/>
                </a:cxn>
                <a:cxn ang="0">
                  <a:pos x="connsiteX1" y="connsiteY1"/>
                </a:cxn>
              </a:cxnLst>
              <a:rect l="l" t="t" r="r" b="b"/>
              <a:pathLst>
                <a:path w="2742239" h="2641172">
                  <a:moveTo>
                    <a:pt x="0" y="2641172"/>
                  </a:moveTo>
                  <a:cubicBezTo>
                    <a:pt x="0" y="1870407"/>
                    <a:pt x="2742240" y="699657"/>
                    <a:pt x="274224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2F33E68-701B-A3E6-CF16-ABBFD7970406}"/>
                </a:ext>
              </a:extLst>
            </p:cNvPr>
            <p:cNvSpPr/>
            <p:nvPr/>
          </p:nvSpPr>
          <p:spPr>
            <a:xfrm>
              <a:off x="15277019" y="584200"/>
              <a:ext cx="2234417" cy="2641172"/>
            </a:xfrm>
            <a:custGeom>
              <a:avLst/>
              <a:gdLst>
                <a:gd name="connsiteX0" fmla="*/ 2234418 w 2234417"/>
                <a:gd name="connsiteY0" fmla="*/ 2641172 h 2641172"/>
                <a:gd name="connsiteX1" fmla="*/ 0 w 2234417"/>
                <a:gd name="connsiteY1" fmla="*/ 0 h 2641172"/>
              </a:gdLst>
              <a:ahLst/>
              <a:cxnLst>
                <a:cxn ang="0">
                  <a:pos x="connsiteX0" y="connsiteY0"/>
                </a:cxn>
                <a:cxn ang="0">
                  <a:pos x="connsiteX1" y="connsiteY1"/>
                </a:cxn>
              </a:cxnLst>
              <a:rect l="l" t="t" r="r" b="b"/>
              <a:pathLst>
                <a:path w="2234417" h="2641172">
                  <a:moveTo>
                    <a:pt x="2234418" y="2641172"/>
                  </a:moveTo>
                  <a:cubicBezTo>
                    <a:pt x="2234418" y="1870407"/>
                    <a:pt x="0" y="699657"/>
                    <a:pt x="0" y="0"/>
                  </a:cubicBezTo>
                </a:path>
              </a:pathLst>
            </a:custGeom>
            <a:noFill/>
            <a:ln w="22225" cap="rnd">
              <a:solidFill>
                <a:schemeClr val="bg1">
                  <a:lumMod val="50000"/>
                  <a:lumOff val="50000"/>
                  <a:alpha val="44000"/>
                </a:schemeClr>
              </a:soli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693F765B-B08A-677A-3EDB-97F94EF939D8}"/>
              </a:ext>
              <a:ext uri="{C183D7F6-B498-43B3-948B-1728B52AA6E4}">
                <adec:decorative xmlns:adec="http://schemas.microsoft.com/office/drawing/2017/decorative" val="1"/>
              </a:ext>
            </a:extLst>
          </p:cNvPr>
          <p:cNvSpPr txBox="1"/>
          <p:nvPr/>
        </p:nvSpPr>
        <p:spPr>
          <a:xfrm>
            <a:off x="7308230" y="4655775"/>
            <a:ext cx="235546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sp>
        <p:nvSpPr>
          <p:cNvPr id="29" name="Oval 28">
            <a:extLst>
              <a:ext uri="{FF2B5EF4-FFF2-40B4-BE49-F238E27FC236}">
                <a16:creationId xmlns:a16="http://schemas.microsoft.com/office/drawing/2014/main" id="{3FE820FA-C968-6645-B661-1F80D10AC0E2}"/>
              </a:ext>
              <a:ext uri="{C183D7F6-B498-43B3-948B-1728B52AA6E4}">
                <adec:decorative xmlns:adec="http://schemas.microsoft.com/office/drawing/2017/decorative" val="1"/>
              </a:ext>
            </a:extLst>
          </p:cNvPr>
          <p:cNvSpPr>
            <a:spLocks noChangeAspect="1"/>
          </p:cNvSpPr>
          <p:nvPr/>
        </p:nvSpPr>
        <p:spPr bwMode="auto">
          <a:xfrm>
            <a:off x="8828780" y="115584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8F6A155-A971-DD69-C4A7-E0F8B5DF4955}"/>
              </a:ext>
              <a:ext uri="{C183D7F6-B498-43B3-948B-1728B52AA6E4}">
                <adec:decorative xmlns:adec="http://schemas.microsoft.com/office/drawing/2017/decorative" val="1"/>
              </a:ext>
            </a:extLst>
          </p:cNvPr>
          <p:cNvSpPr>
            <a:spLocks noChangeAspect="1"/>
          </p:cNvSpPr>
          <p:nvPr/>
        </p:nvSpPr>
        <p:spPr bwMode="auto">
          <a:xfrm>
            <a:off x="8942074" y="7387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5B9D321D-633A-9E2F-83FE-645F9E3DAF19}"/>
              </a:ext>
              <a:ext uri="{C183D7F6-B498-43B3-948B-1728B52AA6E4}">
                <adec:decorative xmlns:adec="http://schemas.microsoft.com/office/drawing/2017/decorative" val="1"/>
              </a:ext>
            </a:extLst>
          </p:cNvPr>
          <p:cNvSpPr>
            <a:spLocks noChangeAspect="1"/>
          </p:cNvSpPr>
          <p:nvPr/>
        </p:nvSpPr>
        <p:spPr bwMode="auto">
          <a:xfrm>
            <a:off x="10186022" y="52993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014ACB-9393-1507-5128-2FB19ADD01EE}"/>
              </a:ext>
              <a:ext uri="{C183D7F6-B498-43B3-948B-1728B52AA6E4}">
                <adec:decorative xmlns:adec="http://schemas.microsoft.com/office/drawing/2017/decorative" val="1"/>
              </a:ext>
            </a:extLst>
          </p:cNvPr>
          <p:cNvSpPr>
            <a:spLocks noChangeAspect="1"/>
          </p:cNvSpPr>
          <p:nvPr/>
        </p:nvSpPr>
        <p:spPr bwMode="auto">
          <a:xfrm>
            <a:off x="9133966" y="289896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79A69A0-E213-F925-1B12-A04F4E3A4EFF}"/>
              </a:ext>
              <a:ext uri="{C183D7F6-B498-43B3-948B-1728B52AA6E4}">
                <adec:decorative xmlns:adec="http://schemas.microsoft.com/office/drawing/2017/decorative" val="1"/>
              </a:ext>
            </a:extLst>
          </p:cNvPr>
          <p:cNvSpPr>
            <a:spLocks noChangeAspect="1"/>
          </p:cNvSpPr>
          <p:nvPr/>
        </p:nvSpPr>
        <p:spPr bwMode="auto">
          <a:xfrm>
            <a:off x="11430782" y="69939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69BE5399-548B-ED43-1965-CDEA02463FC4}"/>
              </a:ext>
              <a:ext uri="{C183D7F6-B498-43B3-948B-1728B52AA6E4}">
                <adec:decorative xmlns:adec="http://schemas.microsoft.com/office/drawing/2017/decorative" val="1"/>
              </a:ext>
            </a:extLst>
          </p:cNvPr>
          <p:cNvSpPr>
            <a:spLocks noChangeAspect="1"/>
          </p:cNvSpPr>
          <p:nvPr/>
        </p:nvSpPr>
        <p:spPr bwMode="auto">
          <a:xfrm>
            <a:off x="9341699" y="1708411"/>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C59F0F26-45E4-E991-57E4-95444C342C98}"/>
              </a:ext>
              <a:ext uri="{C183D7F6-B498-43B3-948B-1728B52AA6E4}">
                <adec:decorative xmlns:adec="http://schemas.microsoft.com/office/drawing/2017/decorative" val="1"/>
              </a:ext>
            </a:extLst>
          </p:cNvPr>
          <p:cNvSpPr>
            <a:spLocks noChangeAspect="1"/>
          </p:cNvSpPr>
          <p:nvPr/>
        </p:nvSpPr>
        <p:spPr bwMode="auto">
          <a:xfrm>
            <a:off x="7933516" y="353074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B09D10A-D5D6-99AA-5465-10734C18A139}"/>
              </a:ext>
              <a:ext uri="{C183D7F6-B498-43B3-948B-1728B52AA6E4}">
                <adec:decorative xmlns:adec="http://schemas.microsoft.com/office/drawing/2017/decorative" val="1"/>
              </a:ext>
            </a:extLst>
          </p:cNvPr>
          <p:cNvSpPr>
            <a:spLocks noChangeAspect="1"/>
          </p:cNvSpPr>
          <p:nvPr/>
        </p:nvSpPr>
        <p:spPr bwMode="auto">
          <a:xfrm>
            <a:off x="8122468" y="282350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EB48191-7126-CDC7-8A64-FD3CB8B727BE}"/>
              </a:ext>
              <a:ext uri="{C183D7F6-B498-43B3-948B-1728B52AA6E4}">
                <adec:decorative xmlns:adec="http://schemas.microsoft.com/office/drawing/2017/decorative" val="1"/>
              </a:ext>
            </a:extLst>
          </p:cNvPr>
          <p:cNvSpPr>
            <a:spLocks noChangeAspect="1"/>
          </p:cNvSpPr>
          <p:nvPr/>
        </p:nvSpPr>
        <p:spPr bwMode="auto">
          <a:xfrm>
            <a:off x="6952132" y="3638526"/>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49A86184-0F25-FC5C-F82E-EDF9C4B6F220}"/>
              </a:ext>
              <a:ext uri="{C183D7F6-B498-43B3-948B-1728B52AA6E4}">
                <adec:decorative xmlns:adec="http://schemas.microsoft.com/office/drawing/2017/decorative" val="1"/>
              </a:ext>
            </a:extLst>
          </p:cNvPr>
          <p:cNvSpPr>
            <a:spLocks noChangeAspect="1"/>
          </p:cNvSpPr>
          <p:nvPr/>
        </p:nvSpPr>
        <p:spPr bwMode="auto">
          <a:xfrm>
            <a:off x="7656494" y="41768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8545F31F-3A50-9199-6894-5F5AFFAB3541}"/>
              </a:ext>
              <a:ext uri="{C183D7F6-B498-43B3-948B-1728B52AA6E4}">
                <adec:decorative xmlns:adec="http://schemas.microsoft.com/office/drawing/2017/decorative" val="1"/>
              </a:ext>
            </a:extLst>
          </p:cNvPr>
          <p:cNvSpPr>
            <a:spLocks noChangeAspect="1"/>
          </p:cNvSpPr>
          <p:nvPr/>
        </p:nvSpPr>
        <p:spPr bwMode="auto">
          <a:xfrm>
            <a:off x="7295869" y="103518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86691DD4-DEBB-05C8-960F-9F9B8C852286}"/>
              </a:ext>
              <a:ext uri="{C183D7F6-B498-43B3-948B-1728B52AA6E4}">
                <adec:decorative xmlns:adec="http://schemas.microsoft.com/office/drawing/2017/decorative" val="1"/>
              </a:ext>
            </a:extLst>
          </p:cNvPr>
          <p:cNvSpPr>
            <a:spLocks noChangeAspect="1"/>
          </p:cNvSpPr>
          <p:nvPr/>
        </p:nvSpPr>
        <p:spPr bwMode="auto">
          <a:xfrm>
            <a:off x="8057338" y="170264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F8186CC4-E13D-1D4B-D307-30AC01550CE2}"/>
              </a:ext>
              <a:ext uri="{C183D7F6-B498-43B3-948B-1728B52AA6E4}">
                <adec:decorative xmlns:adec="http://schemas.microsoft.com/office/drawing/2017/decorative" val="1"/>
              </a:ext>
            </a:extLst>
          </p:cNvPr>
          <p:cNvSpPr>
            <a:spLocks noChangeAspect="1"/>
          </p:cNvSpPr>
          <p:nvPr/>
        </p:nvSpPr>
        <p:spPr bwMode="auto">
          <a:xfrm>
            <a:off x="8283579" y="116462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2FAEDA8-BA7B-4070-3B3D-CA90E35846F0}"/>
              </a:ext>
              <a:ext uri="{C183D7F6-B498-43B3-948B-1728B52AA6E4}">
                <adec:decorative xmlns:adec="http://schemas.microsoft.com/office/drawing/2017/decorative" val="1"/>
              </a:ext>
            </a:extLst>
          </p:cNvPr>
          <p:cNvSpPr>
            <a:spLocks noChangeAspect="1"/>
          </p:cNvSpPr>
          <p:nvPr/>
        </p:nvSpPr>
        <p:spPr bwMode="auto">
          <a:xfrm>
            <a:off x="8407616" y="65196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17C96F8E-18D7-C72F-F312-FF820D09558C}"/>
              </a:ext>
              <a:ext uri="{C183D7F6-B498-43B3-948B-1728B52AA6E4}">
                <adec:decorative xmlns:adec="http://schemas.microsoft.com/office/drawing/2017/decorative" val="1"/>
              </a:ext>
            </a:extLst>
          </p:cNvPr>
          <p:cNvSpPr>
            <a:spLocks noChangeAspect="1"/>
          </p:cNvSpPr>
          <p:nvPr/>
        </p:nvSpPr>
        <p:spPr bwMode="auto">
          <a:xfrm>
            <a:off x="7550721" y="418702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E4D9FA68-6434-221E-96D3-1C4327D46730}"/>
              </a:ext>
              <a:ext uri="{C183D7F6-B498-43B3-948B-1728B52AA6E4}">
                <adec:decorative xmlns:adec="http://schemas.microsoft.com/office/drawing/2017/decorative" val="1"/>
              </a:ext>
            </a:extLst>
          </p:cNvPr>
          <p:cNvSpPr>
            <a:spLocks noChangeAspect="1"/>
          </p:cNvSpPr>
          <p:nvPr/>
        </p:nvSpPr>
        <p:spPr bwMode="auto">
          <a:xfrm>
            <a:off x="11491319" y="23114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017793C8-EB5B-EEB6-8FAA-C8C9CC509534}"/>
              </a:ext>
              <a:ext uri="{C183D7F6-B498-43B3-948B-1728B52AA6E4}">
                <adec:decorative xmlns:adec="http://schemas.microsoft.com/office/drawing/2017/decorative" val="1"/>
              </a:ext>
            </a:extLst>
          </p:cNvPr>
          <p:cNvSpPr>
            <a:spLocks noChangeAspect="1"/>
          </p:cNvSpPr>
          <p:nvPr/>
        </p:nvSpPr>
        <p:spPr bwMode="auto">
          <a:xfrm>
            <a:off x="10244230" y="219998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4CAD372D-320B-5521-2FDC-06132A8B8B03}"/>
              </a:ext>
              <a:ext uri="{C183D7F6-B498-43B3-948B-1728B52AA6E4}">
                <adec:decorative xmlns:adec="http://schemas.microsoft.com/office/drawing/2017/decorative" val="1"/>
              </a:ext>
            </a:extLst>
          </p:cNvPr>
          <p:cNvSpPr>
            <a:spLocks noChangeAspect="1"/>
          </p:cNvSpPr>
          <p:nvPr/>
        </p:nvSpPr>
        <p:spPr bwMode="auto">
          <a:xfrm>
            <a:off x="7602419" y="256828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9DFAFB6-3E54-B543-A72D-EB8312138DBF}"/>
              </a:ext>
              <a:ext uri="{C183D7F6-B498-43B3-948B-1728B52AA6E4}">
                <adec:decorative xmlns:adec="http://schemas.microsoft.com/office/drawing/2017/decorative" val="1"/>
              </a:ext>
            </a:extLst>
          </p:cNvPr>
          <p:cNvSpPr>
            <a:spLocks noChangeAspect="1"/>
          </p:cNvSpPr>
          <p:nvPr/>
        </p:nvSpPr>
        <p:spPr bwMode="auto">
          <a:xfrm>
            <a:off x="10839299" y="243571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910DF09-59BC-97FB-1E9D-1FE2D93CAAB3}"/>
              </a:ext>
              <a:ext uri="{C183D7F6-B498-43B3-948B-1728B52AA6E4}">
                <adec:decorative xmlns:adec="http://schemas.microsoft.com/office/drawing/2017/decorative" val="1"/>
              </a:ext>
            </a:extLst>
          </p:cNvPr>
          <p:cNvSpPr>
            <a:spLocks noChangeAspect="1"/>
          </p:cNvSpPr>
          <p:nvPr/>
        </p:nvSpPr>
        <p:spPr bwMode="auto">
          <a:xfrm>
            <a:off x="8384739" y="305300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D4021204-AED5-7D69-6FBA-9F16A9E0E550}"/>
              </a:ext>
              <a:ext uri="{C183D7F6-B498-43B3-948B-1728B52AA6E4}">
                <adec:decorative xmlns:adec="http://schemas.microsoft.com/office/drawing/2017/decorative" val="1"/>
              </a:ext>
            </a:extLst>
          </p:cNvPr>
          <p:cNvSpPr>
            <a:spLocks noChangeAspect="1"/>
          </p:cNvSpPr>
          <p:nvPr/>
        </p:nvSpPr>
        <p:spPr bwMode="auto">
          <a:xfrm>
            <a:off x="7049009" y="148744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D92746F-AAF5-0B14-0951-3E0BAE396746}"/>
              </a:ext>
              <a:ext uri="{C183D7F6-B498-43B3-948B-1728B52AA6E4}">
                <adec:decorative xmlns:adec="http://schemas.microsoft.com/office/drawing/2017/decorative" val="1"/>
              </a:ext>
            </a:extLst>
          </p:cNvPr>
          <p:cNvSpPr>
            <a:spLocks noChangeAspect="1"/>
          </p:cNvSpPr>
          <p:nvPr/>
        </p:nvSpPr>
        <p:spPr bwMode="auto">
          <a:xfrm>
            <a:off x="8930576" y="413432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CEDF046A-AD1A-5144-DC33-7A0815B7D982}"/>
              </a:ext>
              <a:ext uri="{C183D7F6-B498-43B3-948B-1728B52AA6E4}">
                <adec:decorative xmlns:adec="http://schemas.microsoft.com/office/drawing/2017/decorative" val="1"/>
              </a:ext>
            </a:extLst>
          </p:cNvPr>
          <p:cNvSpPr>
            <a:spLocks noChangeAspect="1"/>
          </p:cNvSpPr>
          <p:nvPr/>
        </p:nvSpPr>
        <p:spPr bwMode="auto">
          <a:xfrm>
            <a:off x="9049723" y="262379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4381459E-DA42-5C59-4AEB-2F88958072E0}"/>
              </a:ext>
              <a:ext uri="{C183D7F6-B498-43B3-948B-1728B52AA6E4}">
                <adec:decorative xmlns:adec="http://schemas.microsoft.com/office/drawing/2017/decorative" val="1"/>
              </a:ext>
            </a:extLst>
          </p:cNvPr>
          <p:cNvSpPr>
            <a:spLocks noChangeAspect="1"/>
          </p:cNvSpPr>
          <p:nvPr/>
        </p:nvSpPr>
        <p:spPr bwMode="auto">
          <a:xfrm>
            <a:off x="6817152" y="4779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353B1D6E-9870-4E6D-1F87-AACC8AF8339E}"/>
              </a:ext>
              <a:ext uri="{C183D7F6-B498-43B3-948B-1728B52AA6E4}">
                <adec:decorative xmlns:adec="http://schemas.microsoft.com/office/drawing/2017/decorative" val="1"/>
              </a:ext>
            </a:extLst>
          </p:cNvPr>
          <p:cNvSpPr>
            <a:spLocks noChangeAspect="1"/>
          </p:cNvSpPr>
          <p:nvPr/>
        </p:nvSpPr>
        <p:spPr bwMode="auto">
          <a:xfrm>
            <a:off x="10015195" y="478449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314EE25-1E3E-DD8A-69F5-ACB360C18A03}"/>
              </a:ext>
              <a:ext uri="{C183D7F6-B498-43B3-948B-1728B52AA6E4}">
                <adec:decorative xmlns:adec="http://schemas.microsoft.com/office/drawing/2017/decorative" val="1"/>
              </a:ext>
            </a:extLst>
          </p:cNvPr>
          <p:cNvSpPr>
            <a:spLocks noChangeAspect="1"/>
          </p:cNvSpPr>
          <p:nvPr/>
        </p:nvSpPr>
        <p:spPr bwMode="auto">
          <a:xfrm>
            <a:off x="10069342" y="408352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6734556C-B816-81E1-B5FF-11EB0E81D828}"/>
              </a:ext>
              <a:ext uri="{C183D7F6-B498-43B3-948B-1728B52AA6E4}">
                <adec:decorative xmlns:adec="http://schemas.microsoft.com/office/drawing/2017/decorative" val="1"/>
              </a:ext>
            </a:extLst>
          </p:cNvPr>
          <p:cNvSpPr>
            <a:spLocks noChangeAspect="1"/>
          </p:cNvSpPr>
          <p:nvPr/>
        </p:nvSpPr>
        <p:spPr bwMode="auto">
          <a:xfrm>
            <a:off x="9483152" y="408738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A7B733BF-510B-CC9C-2CB6-531C7EB5B0DC}"/>
              </a:ext>
              <a:ext uri="{C183D7F6-B498-43B3-948B-1728B52AA6E4}">
                <adec:decorative xmlns:adec="http://schemas.microsoft.com/office/drawing/2017/decorative" val="1"/>
              </a:ext>
            </a:extLst>
          </p:cNvPr>
          <p:cNvSpPr>
            <a:spLocks noChangeAspect="1"/>
          </p:cNvSpPr>
          <p:nvPr/>
        </p:nvSpPr>
        <p:spPr bwMode="auto">
          <a:xfrm>
            <a:off x="10494792" y="445817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6BF3BD0-7D9E-99A8-29D2-9C40157CF9FC}"/>
              </a:ext>
              <a:ext uri="{C183D7F6-B498-43B3-948B-1728B52AA6E4}">
                <adec:decorative xmlns:adec="http://schemas.microsoft.com/office/drawing/2017/decorative" val="1"/>
              </a:ext>
            </a:extLst>
          </p:cNvPr>
          <p:cNvSpPr>
            <a:spLocks noChangeAspect="1"/>
          </p:cNvSpPr>
          <p:nvPr/>
        </p:nvSpPr>
        <p:spPr bwMode="auto">
          <a:xfrm>
            <a:off x="11574292" y="475979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A3DC01C-3865-D10D-A043-E9A0AEA6EEBD}"/>
              </a:ext>
              <a:ext uri="{C183D7F6-B498-43B3-948B-1728B52AA6E4}">
                <adec:decorative xmlns:adec="http://schemas.microsoft.com/office/drawing/2017/decorative" val="1"/>
              </a:ext>
            </a:extLst>
          </p:cNvPr>
          <p:cNvSpPr>
            <a:spLocks noChangeAspect="1"/>
          </p:cNvSpPr>
          <p:nvPr/>
        </p:nvSpPr>
        <p:spPr bwMode="auto">
          <a:xfrm>
            <a:off x="7937138" y="64383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9FD67081-5852-40FC-2E16-D1F8362E9457}"/>
              </a:ext>
              <a:ext uri="{C183D7F6-B498-43B3-948B-1728B52AA6E4}">
                <adec:decorative xmlns:adec="http://schemas.microsoft.com/office/drawing/2017/decorative" val="1"/>
              </a:ext>
            </a:extLst>
          </p:cNvPr>
          <p:cNvSpPr>
            <a:spLocks noChangeAspect="1"/>
          </p:cNvSpPr>
          <p:nvPr/>
        </p:nvSpPr>
        <p:spPr bwMode="auto">
          <a:xfrm>
            <a:off x="6927879" y="623924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B2AA070F-77B5-E180-0E61-4973134D3703}"/>
              </a:ext>
              <a:ext uri="{C183D7F6-B498-43B3-948B-1728B52AA6E4}">
                <adec:decorative xmlns:adec="http://schemas.microsoft.com/office/drawing/2017/decorative" val="1"/>
              </a:ext>
            </a:extLst>
          </p:cNvPr>
          <p:cNvSpPr>
            <a:spLocks noChangeAspect="1"/>
          </p:cNvSpPr>
          <p:nvPr/>
        </p:nvSpPr>
        <p:spPr bwMode="auto">
          <a:xfrm>
            <a:off x="8548084" y="5643975"/>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5A1C578F-FEDA-7CBA-3D72-C15517F75500}"/>
              </a:ext>
              <a:ext uri="{C183D7F6-B498-43B3-948B-1728B52AA6E4}">
                <adec:decorative xmlns:adec="http://schemas.microsoft.com/office/drawing/2017/decorative" val="1"/>
              </a:ext>
            </a:extLst>
          </p:cNvPr>
          <p:cNvSpPr>
            <a:spLocks noChangeAspect="1"/>
          </p:cNvSpPr>
          <p:nvPr/>
        </p:nvSpPr>
        <p:spPr bwMode="auto">
          <a:xfrm>
            <a:off x="6894287" y="424031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F9839B92-E195-8B4E-8E9F-0430B307C2F8}"/>
              </a:ext>
              <a:ext uri="{C183D7F6-B498-43B3-948B-1728B52AA6E4}">
                <adec:decorative xmlns:adec="http://schemas.microsoft.com/office/drawing/2017/decorative" val="1"/>
              </a:ext>
            </a:extLst>
          </p:cNvPr>
          <p:cNvSpPr>
            <a:spLocks noChangeAspect="1"/>
          </p:cNvSpPr>
          <p:nvPr/>
        </p:nvSpPr>
        <p:spPr bwMode="auto">
          <a:xfrm>
            <a:off x="9973953" y="5785307"/>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7C5975F2-0572-8993-C13A-19D543A6754A}"/>
              </a:ext>
              <a:ext uri="{C183D7F6-B498-43B3-948B-1728B52AA6E4}">
                <adec:decorative xmlns:adec="http://schemas.microsoft.com/office/drawing/2017/decorative" val="1"/>
              </a:ext>
            </a:extLst>
          </p:cNvPr>
          <p:cNvSpPr>
            <a:spLocks noChangeAspect="1"/>
          </p:cNvSpPr>
          <p:nvPr/>
        </p:nvSpPr>
        <p:spPr bwMode="auto">
          <a:xfrm>
            <a:off x="8557847" y="5991778"/>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E72B2CE7-6AD4-1244-CF9A-662CE8332462}"/>
              </a:ext>
              <a:ext uri="{C183D7F6-B498-43B3-948B-1728B52AA6E4}">
                <adec:decorative xmlns:adec="http://schemas.microsoft.com/office/drawing/2017/decorative" val="1"/>
              </a:ext>
            </a:extLst>
          </p:cNvPr>
          <p:cNvSpPr>
            <a:spLocks noChangeAspect="1"/>
          </p:cNvSpPr>
          <p:nvPr/>
        </p:nvSpPr>
        <p:spPr bwMode="auto">
          <a:xfrm>
            <a:off x="9036444" y="606097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561AEC6-3DDC-88CC-2A22-4E5806238146}"/>
              </a:ext>
              <a:ext uri="{C183D7F6-B498-43B3-948B-1728B52AA6E4}">
                <adec:decorative xmlns:adec="http://schemas.microsoft.com/office/drawing/2017/decorative" val="1"/>
              </a:ext>
            </a:extLst>
          </p:cNvPr>
          <p:cNvSpPr>
            <a:spLocks noChangeAspect="1"/>
          </p:cNvSpPr>
          <p:nvPr/>
        </p:nvSpPr>
        <p:spPr bwMode="auto">
          <a:xfrm>
            <a:off x="9343865" y="5696250"/>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C6DEE0F-06DA-472D-E8E4-09952F1FA9C0}"/>
              </a:ext>
              <a:ext uri="{C183D7F6-B498-43B3-948B-1728B52AA6E4}">
                <adec:decorative xmlns:adec="http://schemas.microsoft.com/office/drawing/2017/decorative" val="1"/>
              </a:ext>
            </a:extLst>
          </p:cNvPr>
          <p:cNvSpPr>
            <a:spLocks noChangeAspect="1"/>
          </p:cNvSpPr>
          <p:nvPr/>
        </p:nvSpPr>
        <p:spPr bwMode="auto">
          <a:xfrm>
            <a:off x="8912233" y="524957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2E985B94-B0D2-87EF-20ED-64867D3CD074}"/>
              </a:ext>
              <a:ext uri="{C183D7F6-B498-43B3-948B-1728B52AA6E4}">
                <adec:decorative xmlns:adec="http://schemas.microsoft.com/office/drawing/2017/decorative" val="1"/>
              </a:ext>
            </a:extLst>
          </p:cNvPr>
          <p:cNvSpPr>
            <a:spLocks noChangeAspect="1"/>
          </p:cNvSpPr>
          <p:nvPr/>
        </p:nvSpPr>
        <p:spPr bwMode="auto">
          <a:xfrm>
            <a:off x="7835273" y="518734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9775BFE7-B21C-BE96-A1A5-735E5C5B1521}"/>
              </a:ext>
              <a:ext uri="{C183D7F6-B498-43B3-948B-1728B52AA6E4}">
                <adec:decorative xmlns:adec="http://schemas.microsoft.com/office/drawing/2017/decorative" val="1"/>
              </a:ext>
            </a:extLst>
          </p:cNvPr>
          <p:cNvSpPr>
            <a:spLocks noChangeAspect="1"/>
          </p:cNvSpPr>
          <p:nvPr/>
        </p:nvSpPr>
        <p:spPr bwMode="auto">
          <a:xfrm>
            <a:off x="6897699" y="2791283"/>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FFF76682-531B-51F7-C4C6-A05F2BC48F25}"/>
              </a:ext>
              <a:ext uri="{C183D7F6-B498-43B3-948B-1728B52AA6E4}">
                <adec:decorative xmlns:adec="http://schemas.microsoft.com/office/drawing/2017/decorative" val="1"/>
              </a:ext>
            </a:extLst>
          </p:cNvPr>
          <p:cNvSpPr>
            <a:spLocks noChangeAspect="1"/>
          </p:cNvSpPr>
          <p:nvPr/>
        </p:nvSpPr>
        <p:spPr bwMode="auto">
          <a:xfrm>
            <a:off x="7786378" y="574297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DC92C482-12C2-44A1-054A-CC5A1323C192}"/>
              </a:ext>
              <a:ext uri="{C183D7F6-B498-43B3-948B-1728B52AA6E4}">
                <adec:decorative xmlns:adec="http://schemas.microsoft.com/office/drawing/2017/decorative" val="1"/>
              </a:ext>
            </a:extLst>
          </p:cNvPr>
          <p:cNvSpPr>
            <a:spLocks noChangeAspect="1"/>
          </p:cNvSpPr>
          <p:nvPr/>
        </p:nvSpPr>
        <p:spPr bwMode="auto">
          <a:xfrm>
            <a:off x="7353943" y="5404519"/>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9B90574B-9AE4-6E62-A218-98AF4FDAC11D}"/>
              </a:ext>
              <a:ext uri="{C183D7F6-B498-43B3-948B-1728B52AA6E4}">
                <adec:decorative xmlns:adec="http://schemas.microsoft.com/office/drawing/2017/decorative" val="1"/>
              </a:ext>
            </a:extLst>
          </p:cNvPr>
          <p:cNvSpPr>
            <a:spLocks noChangeAspect="1"/>
          </p:cNvSpPr>
          <p:nvPr/>
        </p:nvSpPr>
        <p:spPr bwMode="auto">
          <a:xfrm>
            <a:off x="9336413" y="6254784"/>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8" name="Rectangle: Rounded Corners 77">
            <a:extLst>
              <a:ext uri="{FF2B5EF4-FFF2-40B4-BE49-F238E27FC236}">
                <a16:creationId xmlns:a16="http://schemas.microsoft.com/office/drawing/2014/main" id="{156BEFCF-7559-D000-89B4-C2F1FDD81D66}"/>
              </a:ext>
              <a:ext uri="{C183D7F6-B498-43B3-948B-1728B52AA6E4}">
                <adec:decorative xmlns:adec="http://schemas.microsoft.com/office/drawing/2017/decorative" val="1"/>
              </a:ext>
            </a:extLst>
          </p:cNvPr>
          <p:cNvSpPr/>
          <p:nvPr/>
        </p:nvSpPr>
        <p:spPr bwMode="auto">
          <a:xfrm>
            <a:off x="8882945" y="2743039"/>
            <a:ext cx="2543755" cy="1186681"/>
          </a:xfrm>
          <a:prstGeom prst="roundRect">
            <a:avLst>
              <a:gd name="adj" fmla="val 5271"/>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noFill/>
                <a:effectLst/>
                <a:uLnTx/>
                <a:uFillTx/>
                <a:latin typeface="Segoe UI Semibold"/>
                <a:ea typeface="+mn-ea"/>
                <a:cs typeface="Segoe UI" pitchFamily="34" charset="0"/>
              </a:rPr>
              <a:t>2</a:t>
            </a:r>
          </a:p>
        </p:txBody>
      </p:sp>
      <p:sp>
        <p:nvSpPr>
          <p:cNvPr id="79" name="TextBox 78">
            <a:extLst>
              <a:ext uri="{FF2B5EF4-FFF2-40B4-BE49-F238E27FC236}">
                <a16:creationId xmlns:a16="http://schemas.microsoft.com/office/drawing/2014/main" id="{44C35CE5-CEDE-9FE2-7C17-D769704E1135}"/>
              </a:ext>
              <a:ext uri="{C183D7F6-B498-43B3-948B-1728B52AA6E4}">
                <adec:decorative xmlns:adec="http://schemas.microsoft.com/office/drawing/2017/decorative" val="1"/>
              </a:ext>
            </a:extLst>
          </p:cNvPr>
          <p:cNvSpPr txBox="1"/>
          <p:nvPr/>
        </p:nvSpPr>
        <p:spPr>
          <a:xfrm>
            <a:off x="9737785" y="3237832"/>
            <a:ext cx="834074" cy="246221"/>
          </a:xfrm>
          <a:prstGeom prst="rect">
            <a:avLst/>
          </a:prstGeom>
          <a:noFill/>
          <a:ln>
            <a:noFill/>
          </a:ln>
        </p:spPr>
        <p:txBody>
          <a:bodyPr wrap="non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UI" pitchFamily="34" charset="0"/>
              </a:rPr>
              <a:t>Analytics</a:t>
            </a:r>
          </a:p>
        </p:txBody>
      </p:sp>
      <p:sp>
        <p:nvSpPr>
          <p:cNvPr id="80" name="Rectangle: Rounded Corners 79">
            <a:extLst>
              <a:ext uri="{FF2B5EF4-FFF2-40B4-BE49-F238E27FC236}">
                <a16:creationId xmlns:a16="http://schemas.microsoft.com/office/drawing/2014/main" id="{D1D48C68-6DC5-AD7D-6848-B234278B2050}"/>
              </a:ext>
              <a:ext uri="{C183D7F6-B498-43B3-948B-1728B52AA6E4}">
                <adec:decorative xmlns:adec="http://schemas.microsoft.com/office/drawing/2017/decorative" val="1"/>
              </a:ext>
            </a:extLst>
          </p:cNvPr>
          <p:cNvSpPr/>
          <p:nvPr/>
        </p:nvSpPr>
        <p:spPr bwMode="auto">
          <a:xfrm>
            <a:off x="6567169" y="1371772"/>
            <a:ext cx="2543755" cy="1186681"/>
          </a:xfrm>
          <a:prstGeom prst="roundRect">
            <a:avLst>
              <a:gd name="adj" fmla="val 5336"/>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noFill/>
                <a:effectLst/>
                <a:uLnTx/>
                <a:uFillTx/>
                <a:latin typeface="Segoe UI Semibold"/>
                <a:ea typeface="+mn-ea"/>
                <a:cs typeface="Segoe UI" pitchFamily="34" charset="0"/>
              </a:rPr>
              <a:t>3</a:t>
            </a:r>
          </a:p>
        </p:txBody>
      </p:sp>
      <p:sp>
        <p:nvSpPr>
          <p:cNvPr id="81" name="TextBox 80">
            <a:extLst>
              <a:ext uri="{FF2B5EF4-FFF2-40B4-BE49-F238E27FC236}">
                <a16:creationId xmlns:a16="http://schemas.microsoft.com/office/drawing/2014/main" id="{E098C57C-294A-9775-F1CA-44505803CBB9}"/>
              </a:ext>
              <a:ext uri="{C183D7F6-B498-43B3-948B-1728B52AA6E4}">
                <adec:decorative xmlns:adec="http://schemas.microsoft.com/office/drawing/2017/decorative" val="1"/>
              </a:ext>
            </a:extLst>
          </p:cNvPr>
          <p:cNvSpPr txBox="1"/>
          <p:nvPr/>
        </p:nvSpPr>
        <p:spPr>
          <a:xfrm>
            <a:off x="7050369" y="1862752"/>
            <a:ext cx="1577355" cy="246221"/>
          </a:xfrm>
          <a:prstGeom prst="rect">
            <a:avLst/>
          </a:prstGeom>
          <a:noFill/>
          <a:ln>
            <a:noFill/>
          </a:ln>
        </p:spPr>
        <p:txBody>
          <a:bodyPr wrap="none" lIns="0" tIns="0" rIns="0" bIns="0" anchor="ctr"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UI" pitchFamily="34" charset="0"/>
              </a:rPr>
              <a:t>Data governance</a:t>
            </a:r>
          </a:p>
        </p:txBody>
      </p:sp>
      <p:sp>
        <p:nvSpPr>
          <p:cNvPr id="82" name="Rectangle: Rounded Corners 81">
            <a:extLst>
              <a:ext uri="{FF2B5EF4-FFF2-40B4-BE49-F238E27FC236}">
                <a16:creationId xmlns:a16="http://schemas.microsoft.com/office/drawing/2014/main" id="{2621F702-4445-D672-977D-1AB9D4022A43}"/>
              </a:ext>
              <a:ext uri="{C183D7F6-B498-43B3-948B-1728B52AA6E4}">
                <adec:decorative xmlns:adec="http://schemas.microsoft.com/office/drawing/2017/decorative" val="1"/>
              </a:ext>
            </a:extLst>
          </p:cNvPr>
          <p:cNvSpPr/>
          <p:nvPr/>
        </p:nvSpPr>
        <p:spPr bwMode="auto">
          <a:xfrm>
            <a:off x="7214084" y="4058689"/>
            <a:ext cx="2543755" cy="1186681"/>
          </a:xfrm>
          <a:prstGeom prst="roundRect">
            <a:avLst>
              <a:gd name="adj" fmla="val 5336"/>
            </a:avLst>
          </a:prstGeom>
          <a:solidFill>
            <a:schemeClr val="bg2">
              <a:lumMod val="60000"/>
              <a:lumOff val="40000"/>
            </a:schemeClr>
          </a:solidFill>
          <a:ln w="25400">
            <a:noFill/>
            <a:headEnd type="none" w="med" len="med"/>
            <a:tailEnd type="none" w="med" len="med"/>
          </a:ln>
          <a:effectLst>
            <a:outerShdw blurRad="63500" dist="127000" dir="5400000" algn="tl" rotWithShape="0">
              <a:schemeClr val="bg1">
                <a:lumMod val="75000"/>
                <a:alpha val="20000"/>
              </a:schemeClr>
            </a:outerShdw>
          </a:effectLst>
          <a:scene3d>
            <a:camera prst="perspectiveRelaxedModerately">
              <a:rot lat="18600000" lon="0" rev="0"/>
            </a:camera>
            <a:lightRig rig="balanced" dir="t"/>
          </a:scene3d>
          <a:sp3d prstMaterial="matte">
            <a:bevelT w="0"/>
            <a:contourClr>
              <a:schemeClr val="bg1">
                <a:lumMod val="65000"/>
              </a:schemeClr>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noFill/>
                <a:effectLst/>
                <a:uLnTx/>
                <a:uFillTx/>
                <a:latin typeface="Segoe UI Semibold"/>
                <a:ea typeface="+mn-ea"/>
                <a:cs typeface="Segoe UI" pitchFamily="34" charset="0"/>
              </a:rPr>
              <a:t>1</a:t>
            </a:r>
          </a:p>
        </p:txBody>
      </p:sp>
      <p:sp>
        <p:nvSpPr>
          <p:cNvPr id="83" name="TextBox 82">
            <a:extLst>
              <a:ext uri="{FF2B5EF4-FFF2-40B4-BE49-F238E27FC236}">
                <a16:creationId xmlns:a16="http://schemas.microsoft.com/office/drawing/2014/main" id="{90C6EA86-B826-93BB-D92D-B433AF5DC777}"/>
              </a:ext>
              <a:ext uri="{C183D7F6-B498-43B3-948B-1728B52AA6E4}">
                <adec:decorative xmlns:adec="http://schemas.microsoft.com/office/drawing/2017/decorative" val="1"/>
              </a:ext>
            </a:extLst>
          </p:cNvPr>
          <p:cNvSpPr txBox="1"/>
          <p:nvPr/>
        </p:nvSpPr>
        <p:spPr>
          <a:xfrm>
            <a:off x="7464848" y="4528033"/>
            <a:ext cx="2042226" cy="246221"/>
          </a:xfrm>
          <a:prstGeom prst="rect">
            <a:avLst/>
          </a:prstGeom>
          <a:noFill/>
          <a:ln>
            <a:noFill/>
          </a:ln>
        </p:spPr>
        <p:txBody>
          <a:bodyPr wrap="non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Sans Display"/>
                <a:ea typeface="+mn-ea"/>
                <a:cs typeface="Segoe UI" pitchFamily="34" charset="0"/>
              </a:rPr>
              <a:t>Operational Databases</a:t>
            </a:r>
          </a:p>
        </p:txBody>
      </p:sp>
      <p:sp>
        <p:nvSpPr>
          <p:cNvPr id="28" name="Oval 27">
            <a:extLst>
              <a:ext uri="{FF2B5EF4-FFF2-40B4-BE49-F238E27FC236}">
                <a16:creationId xmlns:a16="http://schemas.microsoft.com/office/drawing/2014/main" id="{6AA4E2B3-E81F-7372-C39D-1BD4F873DAD9}"/>
              </a:ext>
              <a:ext uri="{C183D7F6-B498-43B3-948B-1728B52AA6E4}">
                <adec:decorative xmlns:adec="http://schemas.microsoft.com/office/drawing/2017/decorative" val="1"/>
              </a:ext>
            </a:extLst>
          </p:cNvPr>
          <p:cNvSpPr>
            <a:spLocks noChangeAspect="1"/>
          </p:cNvSpPr>
          <p:nvPr/>
        </p:nvSpPr>
        <p:spPr bwMode="auto">
          <a:xfrm>
            <a:off x="6256318" y="1233442"/>
            <a:ext cx="53847" cy="53847"/>
          </a:xfrm>
          <a:prstGeom prst="ellipse">
            <a:avLst/>
          </a:prstGeom>
          <a:solidFill>
            <a:schemeClr val="bg2"/>
          </a:solidFill>
          <a:ln>
            <a:solidFill>
              <a:schemeClr val="bg2"/>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76175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35417E-6 -4.81481E-6 L 1.35417E-6 0.03542 " pathEditMode="relative" rAng="0" ptsTypes="AA">
                                      <p:cBhvr>
                                        <p:cTn id="9" dur="700" spd="-100000" fill="hold"/>
                                        <p:tgtEl>
                                          <p:spTgt spid="5"/>
                                        </p:tgtEl>
                                        <p:attrNameLst>
                                          <p:attrName>ppt_x</p:attrName>
                                          <p:attrName>ppt_y</p:attrName>
                                        </p:attrNameLst>
                                      </p:cBhvr>
                                      <p:rCtr x="0" y="1771"/>
                                    </p:animMotion>
                                  </p:childTnLst>
                                </p:cTn>
                              </p:par>
                              <p:par>
                                <p:cTn id="10" presetID="10" presetClass="entr" presetSubtype="0" fill="hold" grpId="0" nodeType="with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500"/>
                                        <p:tgtEl>
                                          <p:spTgt spid="82"/>
                                        </p:tgtEl>
                                      </p:cBhvr>
                                    </p:animEffect>
                                  </p:childTnLst>
                                </p:cTn>
                              </p:par>
                              <p:par>
                                <p:cTn id="13" presetID="42" presetClass="path" presetSubtype="0" decel="100000" fill="hold" grpId="1" nodeType="withEffect">
                                  <p:stCondLst>
                                    <p:cond delay="0"/>
                                  </p:stCondLst>
                                  <p:childTnLst>
                                    <p:animMotion origin="layout" path="M 3.33333E-6 -1.2963E-6 L 3.33333E-6 0.03542 " pathEditMode="relative" rAng="0" ptsTypes="AA">
                                      <p:cBhvr>
                                        <p:cTn id="14" dur="700" spd="-100000" fill="hold"/>
                                        <p:tgtEl>
                                          <p:spTgt spid="82"/>
                                        </p:tgtEl>
                                        <p:attrNameLst>
                                          <p:attrName>ppt_x</p:attrName>
                                          <p:attrName>ppt_y</p:attrName>
                                        </p:attrNameLst>
                                      </p:cBhvr>
                                      <p:rCtr x="0" y="1771"/>
                                    </p:animMotion>
                                  </p:childTnLst>
                                </p:cTn>
                              </p:par>
                              <p:par>
                                <p:cTn id="15" presetID="10" presetClass="entr" presetSubtype="0" fill="hold" grpId="0" nodeType="withEffect">
                                  <p:stCondLst>
                                    <p:cond delay="10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500"/>
                                        <p:tgtEl>
                                          <p:spTgt spid="79"/>
                                        </p:tgtEl>
                                      </p:cBhvr>
                                    </p:animEffect>
                                  </p:childTnLst>
                                </p:cTn>
                              </p:par>
                              <p:par>
                                <p:cTn id="18" presetID="42" presetClass="path" presetSubtype="0" decel="100000" fill="hold" grpId="1" nodeType="withEffect">
                                  <p:stCondLst>
                                    <p:cond delay="100"/>
                                  </p:stCondLst>
                                  <p:childTnLst>
                                    <p:animMotion origin="layout" path="M 3.33333E-6 -1.2963E-6 L 3.33333E-6 0.03542 " pathEditMode="relative" rAng="0" ptsTypes="AA">
                                      <p:cBhvr>
                                        <p:cTn id="19" dur="700" spd="-100000" fill="hold"/>
                                        <p:tgtEl>
                                          <p:spTgt spid="79"/>
                                        </p:tgtEl>
                                        <p:attrNameLst>
                                          <p:attrName>ppt_x</p:attrName>
                                          <p:attrName>ppt_y</p:attrName>
                                        </p:attrNameLst>
                                      </p:cBhvr>
                                      <p:rCtr x="0" y="1771"/>
                                    </p:animMotion>
                                  </p:childTnLst>
                                </p:cTn>
                              </p:par>
                              <p:par>
                                <p:cTn id="20" presetID="10" presetClass="entr" presetSubtype="0" fill="hold" grpId="0" nodeType="withEffect">
                                  <p:stCondLst>
                                    <p:cond delay="10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childTnLst>
                                </p:cTn>
                              </p:par>
                              <p:par>
                                <p:cTn id="23" presetID="42" presetClass="path" presetSubtype="0" decel="100000" fill="hold" grpId="1" nodeType="withEffect">
                                  <p:stCondLst>
                                    <p:cond delay="100"/>
                                  </p:stCondLst>
                                  <p:childTnLst>
                                    <p:animMotion origin="layout" path="M 3.33333E-6 -1.2963E-6 L 3.33333E-6 0.03542 " pathEditMode="relative" rAng="0" ptsTypes="AA">
                                      <p:cBhvr>
                                        <p:cTn id="24" dur="700" spd="-100000" fill="hold"/>
                                        <p:tgtEl>
                                          <p:spTgt spid="78"/>
                                        </p:tgtEl>
                                        <p:attrNameLst>
                                          <p:attrName>ppt_x</p:attrName>
                                          <p:attrName>ppt_y</p:attrName>
                                        </p:attrNameLst>
                                      </p:cBhvr>
                                      <p:rCtr x="0" y="1771"/>
                                    </p:animMotion>
                                  </p:childTnLst>
                                </p:cTn>
                              </p:par>
                              <p:par>
                                <p:cTn id="25" presetID="10" presetClass="entr" presetSubtype="0" fill="hold" grpId="0" nodeType="withEffect">
                                  <p:stCondLst>
                                    <p:cond delay="200"/>
                                  </p:stCondLst>
                                  <p:childTnLst>
                                    <p:set>
                                      <p:cBhvr>
                                        <p:cTn id="26" dur="1" fill="hold">
                                          <p:stCondLst>
                                            <p:cond delay="0"/>
                                          </p:stCondLst>
                                        </p:cTn>
                                        <p:tgtEl>
                                          <p:spTgt spid="81"/>
                                        </p:tgtEl>
                                        <p:attrNameLst>
                                          <p:attrName>style.visibility</p:attrName>
                                        </p:attrNameLst>
                                      </p:cBhvr>
                                      <p:to>
                                        <p:strVal val="visible"/>
                                      </p:to>
                                    </p:set>
                                    <p:animEffect transition="in" filter="fade">
                                      <p:cBhvr>
                                        <p:cTn id="27" dur="500"/>
                                        <p:tgtEl>
                                          <p:spTgt spid="81"/>
                                        </p:tgtEl>
                                      </p:cBhvr>
                                    </p:animEffect>
                                  </p:childTnLst>
                                </p:cTn>
                              </p:par>
                              <p:par>
                                <p:cTn id="28" presetID="42" presetClass="path" presetSubtype="0" decel="100000" fill="hold" grpId="1" nodeType="withEffect">
                                  <p:stCondLst>
                                    <p:cond delay="200"/>
                                  </p:stCondLst>
                                  <p:childTnLst>
                                    <p:animMotion origin="layout" path="M 1.25E-6 -2.40741E-6 L 1.25E-6 0.03542 " pathEditMode="relative" rAng="0" ptsTypes="AA">
                                      <p:cBhvr>
                                        <p:cTn id="29" dur="700" spd="-100000" fill="hold"/>
                                        <p:tgtEl>
                                          <p:spTgt spid="81"/>
                                        </p:tgtEl>
                                        <p:attrNameLst>
                                          <p:attrName>ppt_x</p:attrName>
                                          <p:attrName>ppt_y</p:attrName>
                                        </p:attrNameLst>
                                      </p:cBhvr>
                                      <p:rCtr x="0" y="1771"/>
                                    </p:animMotion>
                                  </p:childTnLst>
                                </p:cTn>
                              </p:par>
                              <p:par>
                                <p:cTn id="30" presetID="10" presetClass="entr" presetSubtype="0" fill="hold" grpId="0" nodeType="withEffect">
                                  <p:stCondLst>
                                    <p:cond delay="20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childTnLst>
                                </p:cTn>
                              </p:par>
                              <p:par>
                                <p:cTn id="33" presetID="42" presetClass="path" presetSubtype="0" decel="100000" fill="hold" grpId="1" nodeType="withEffect">
                                  <p:stCondLst>
                                    <p:cond delay="200"/>
                                  </p:stCondLst>
                                  <p:childTnLst>
                                    <p:animMotion origin="layout" path="M 1.25E-6 -4.07407E-6 L 1.25E-6 0.03542 " pathEditMode="relative" rAng="0" ptsTypes="AA">
                                      <p:cBhvr>
                                        <p:cTn id="34" dur="700" spd="-100000" fill="hold"/>
                                        <p:tgtEl>
                                          <p:spTgt spid="80"/>
                                        </p:tgtEl>
                                        <p:attrNameLst>
                                          <p:attrName>ppt_x</p:attrName>
                                          <p:attrName>ppt_y</p:attrName>
                                        </p:attrNameLst>
                                      </p:cBhvr>
                                      <p:rCtr x="0" y="1759"/>
                                    </p:animMotion>
                                  </p:childTnLst>
                                </p:cTn>
                              </p:par>
                              <p:par>
                                <p:cTn id="35" presetID="22" presetClass="entr" presetSubtype="4"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down)">
                                      <p:cBhvr>
                                        <p:cTn id="37" dur="1000"/>
                                        <p:tgtEl>
                                          <p:spTgt spid="11"/>
                                        </p:tgtEl>
                                      </p:cBhvr>
                                    </p:animEffect>
                                  </p:childTnLst>
                                </p:cTn>
                              </p:par>
                              <p:par>
                                <p:cTn id="38" presetID="22" presetClass="entr" presetSubtype="4" fill="hold" nodeType="withEffect">
                                  <p:stCondLst>
                                    <p:cond delay="100"/>
                                  </p:stCondLst>
                                  <p:childTnLst>
                                    <p:set>
                                      <p:cBhvr>
                                        <p:cTn id="39" dur="1" fill="hold">
                                          <p:stCondLst>
                                            <p:cond delay="0"/>
                                          </p:stCondLst>
                                        </p:cTn>
                                        <p:tgtEl>
                                          <p:spTgt spid="68"/>
                                        </p:tgtEl>
                                        <p:attrNameLst>
                                          <p:attrName>style.visibility</p:attrName>
                                        </p:attrNameLst>
                                      </p:cBhvr>
                                      <p:to>
                                        <p:strVal val="visible"/>
                                      </p:to>
                                    </p:set>
                                    <p:animEffect transition="in" filter="wipe(down)">
                                      <p:cBhvr>
                                        <p:cTn id="40" dur="1000"/>
                                        <p:tgtEl>
                                          <p:spTgt spid="68"/>
                                        </p:tgtEl>
                                      </p:cBhvr>
                                    </p:animEffect>
                                  </p:childTnLst>
                                </p:cTn>
                              </p:par>
                              <p:par>
                                <p:cTn id="41" presetID="22" presetClass="entr" presetSubtype="4" fill="hold" nodeType="withEffect">
                                  <p:stCondLst>
                                    <p:cond delay="200"/>
                                  </p:stCondLst>
                                  <p:childTnLst>
                                    <p:set>
                                      <p:cBhvr>
                                        <p:cTn id="42" dur="1" fill="hold">
                                          <p:stCondLst>
                                            <p:cond delay="0"/>
                                          </p:stCondLst>
                                        </p:cTn>
                                        <p:tgtEl>
                                          <p:spTgt spid="84"/>
                                        </p:tgtEl>
                                        <p:attrNameLst>
                                          <p:attrName>style.visibility</p:attrName>
                                        </p:attrNameLst>
                                      </p:cBhvr>
                                      <p:to>
                                        <p:strVal val="visible"/>
                                      </p:to>
                                    </p:set>
                                    <p:animEffect transition="in" filter="wipe(down)">
                                      <p:cBhvr>
                                        <p:cTn id="43" dur="1000"/>
                                        <p:tgtEl>
                                          <p:spTgt spid="84"/>
                                        </p:tgtEl>
                                      </p:cBhvr>
                                    </p:animEffect>
                                  </p:childTnLst>
                                </p:cTn>
                              </p:par>
                              <p:par>
                                <p:cTn id="44" presetID="22" presetClass="entr" presetSubtype="4" fill="hold" nodeType="withEffect">
                                  <p:stCondLst>
                                    <p:cond delay="300"/>
                                  </p:stCondLst>
                                  <p:childTnLst>
                                    <p:set>
                                      <p:cBhvr>
                                        <p:cTn id="45" dur="1" fill="hold">
                                          <p:stCondLst>
                                            <p:cond delay="0"/>
                                          </p:stCondLst>
                                        </p:cTn>
                                        <p:tgtEl>
                                          <p:spTgt spid="93"/>
                                        </p:tgtEl>
                                        <p:attrNameLst>
                                          <p:attrName>style.visibility</p:attrName>
                                        </p:attrNameLst>
                                      </p:cBhvr>
                                      <p:to>
                                        <p:strVal val="visible"/>
                                      </p:to>
                                    </p:set>
                                    <p:animEffect transition="in" filter="wipe(down)">
                                      <p:cBhvr>
                                        <p:cTn id="46" dur="1000"/>
                                        <p:tgtEl>
                                          <p:spTgt spid="93"/>
                                        </p:tgtEl>
                                      </p:cBhvr>
                                    </p:animEffect>
                                  </p:childTnLst>
                                </p:cTn>
                              </p:par>
                              <p:par>
                                <p:cTn id="47" presetID="1" presetClass="entr" presetSubtype="0" fill="hold" grpId="0" nodeType="withEffect">
                                  <p:stCondLst>
                                    <p:cond delay="750"/>
                                  </p:stCondLst>
                                  <p:childTnLst>
                                    <p:set>
                                      <p:cBhvr>
                                        <p:cTn id="48" dur="1" fill="hold">
                                          <p:stCondLst>
                                            <p:cond delay="0"/>
                                          </p:stCondLst>
                                        </p:cTn>
                                        <p:tgtEl>
                                          <p:spTgt spid="59"/>
                                        </p:tgtEl>
                                        <p:attrNameLst>
                                          <p:attrName>style.visibility</p:attrName>
                                        </p:attrNameLst>
                                      </p:cBhvr>
                                      <p:to>
                                        <p:strVal val="visible"/>
                                      </p:to>
                                    </p:set>
                                  </p:childTnLst>
                                </p:cTn>
                              </p:par>
                              <p:par>
                                <p:cTn id="49" presetID="37" presetClass="path" presetSubtype="0" repeatCount="indefinite" fill="hold" grpId="1" nodeType="withEffect">
                                  <p:stCondLst>
                                    <p:cond delay="750"/>
                                  </p:stCondLst>
                                  <p:childTnLst>
                                    <p:animMotion origin="layout" path="M -0.01386 0.04294 C -0.0138 -0.01169 0.1002 -0.12188 0.09994 -0.1706 " pathEditMode="relative" rAng="0" ptsTypes="AA">
                                      <p:cBhvr>
                                        <p:cTn id="50" dur="1500" fill="hold"/>
                                        <p:tgtEl>
                                          <p:spTgt spid="59"/>
                                        </p:tgtEl>
                                        <p:attrNameLst>
                                          <p:attrName>ppt_x</p:attrName>
                                          <p:attrName>ppt_y</p:attrName>
                                        </p:attrNameLst>
                                      </p:cBhvr>
                                      <p:rCtr x="5690" y="-10683"/>
                                    </p:animMotion>
                                  </p:childTnLst>
                                </p:cTn>
                              </p:par>
                              <p:par>
                                <p:cTn id="51" presetID="1" presetClass="entr" presetSubtype="0" fill="hold" grpId="0" nodeType="withEffect">
                                  <p:stCondLst>
                                    <p:cond delay="800"/>
                                  </p:stCondLst>
                                  <p:childTnLst>
                                    <p:set>
                                      <p:cBhvr>
                                        <p:cTn id="52" dur="1" fill="hold">
                                          <p:stCondLst>
                                            <p:cond delay="0"/>
                                          </p:stCondLst>
                                        </p:cTn>
                                        <p:tgtEl>
                                          <p:spTgt spid="65"/>
                                        </p:tgtEl>
                                        <p:attrNameLst>
                                          <p:attrName>style.visibility</p:attrName>
                                        </p:attrNameLst>
                                      </p:cBhvr>
                                      <p:to>
                                        <p:strVal val="visible"/>
                                      </p:to>
                                    </p:set>
                                  </p:childTnLst>
                                </p:cTn>
                              </p:par>
                              <p:par>
                                <p:cTn id="53" presetID="37" presetClass="path" presetSubtype="0" repeatCount="indefinite" fill="hold" grpId="1" nodeType="withEffect">
                                  <p:stCondLst>
                                    <p:cond delay="800"/>
                                  </p:stCondLst>
                                  <p:childTnLst>
                                    <p:animMotion origin="layout" path="M -0.04212 0.12222 C -0.04212 0.02234 0.11823 -0.15706 0.11888 -0.28275 " pathEditMode="relative" rAng="0" ptsTypes="AA">
                                      <p:cBhvr>
                                        <p:cTn id="54" dur="3000" fill="hold"/>
                                        <p:tgtEl>
                                          <p:spTgt spid="65"/>
                                        </p:tgtEl>
                                        <p:attrNameLst>
                                          <p:attrName>ppt_x</p:attrName>
                                          <p:attrName>ppt_y</p:attrName>
                                        </p:attrNameLst>
                                      </p:cBhvr>
                                      <p:rCtr x="8047" y="-20255"/>
                                    </p:animMotion>
                                  </p:childTnLst>
                                </p:cTn>
                              </p:par>
                              <p:par>
                                <p:cTn id="55" presetID="1" presetClass="entr" presetSubtype="0" fill="hold" grpId="0" nodeType="withEffect">
                                  <p:stCondLst>
                                    <p:cond delay="850"/>
                                  </p:stCondLst>
                                  <p:childTnLst>
                                    <p:set>
                                      <p:cBhvr>
                                        <p:cTn id="56" dur="1" fill="hold">
                                          <p:stCondLst>
                                            <p:cond delay="0"/>
                                          </p:stCondLst>
                                        </p:cTn>
                                        <p:tgtEl>
                                          <p:spTgt spid="102"/>
                                        </p:tgtEl>
                                        <p:attrNameLst>
                                          <p:attrName>style.visibility</p:attrName>
                                        </p:attrNameLst>
                                      </p:cBhvr>
                                      <p:to>
                                        <p:strVal val="visible"/>
                                      </p:to>
                                    </p:set>
                                  </p:childTnLst>
                                </p:cTn>
                              </p:par>
                              <p:par>
                                <p:cTn id="57" presetID="37" presetClass="path" presetSubtype="0" repeatCount="indefinite" fill="hold" grpId="1" nodeType="withEffect">
                                  <p:stCondLst>
                                    <p:cond delay="850"/>
                                  </p:stCondLst>
                                  <p:childTnLst>
                                    <p:animMotion origin="layout" path="M 0.01263 0.11609 C 0.01335 0.05903 -0.01042 -0.0441 -0.01042 -0.10278 " pathEditMode="relative" rAng="0" ptsTypes="AA">
                                      <p:cBhvr>
                                        <p:cTn id="58" dur="1500" fill="hold"/>
                                        <p:tgtEl>
                                          <p:spTgt spid="102"/>
                                        </p:tgtEl>
                                        <p:attrNameLst>
                                          <p:attrName>ppt_x</p:attrName>
                                          <p:attrName>ppt_y</p:attrName>
                                        </p:attrNameLst>
                                      </p:cBhvr>
                                      <p:rCtr x="-1152" y="-10949"/>
                                    </p:animMotion>
                                  </p:childTnLst>
                                </p:cTn>
                              </p:par>
                              <p:par>
                                <p:cTn id="59" presetID="1" presetClass="entr" presetSubtype="0" fill="hold" grpId="0" nodeType="withEffect">
                                  <p:stCondLst>
                                    <p:cond delay="1350"/>
                                  </p:stCondLst>
                                  <p:childTnLst>
                                    <p:set>
                                      <p:cBhvr>
                                        <p:cTn id="60" dur="1" fill="hold">
                                          <p:stCondLst>
                                            <p:cond delay="0"/>
                                          </p:stCondLst>
                                        </p:cTn>
                                        <p:tgtEl>
                                          <p:spTgt spid="58"/>
                                        </p:tgtEl>
                                        <p:attrNameLst>
                                          <p:attrName>style.visibility</p:attrName>
                                        </p:attrNameLst>
                                      </p:cBhvr>
                                      <p:to>
                                        <p:strVal val="visible"/>
                                      </p:to>
                                    </p:set>
                                  </p:childTnLst>
                                </p:cTn>
                              </p:par>
                              <p:par>
                                <p:cTn id="61" presetID="37" presetClass="path" presetSubtype="0" repeatCount="indefinite" fill="hold" grpId="1" nodeType="withEffect">
                                  <p:stCondLst>
                                    <p:cond delay="1350"/>
                                  </p:stCondLst>
                                  <p:childTnLst>
                                    <p:animMotion origin="layout" path="M 0.00065 0.01458 C 0.00137 -0.04248 -0.0224 -0.1456 -0.0224 -0.20428 " pathEditMode="relative" rAng="0" ptsTypes="AA">
                                      <p:cBhvr>
                                        <p:cTn id="62" dur="1500" fill="hold"/>
                                        <p:tgtEl>
                                          <p:spTgt spid="58"/>
                                        </p:tgtEl>
                                        <p:attrNameLst>
                                          <p:attrName>ppt_x</p:attrName>
                                          <p:attrName>ppt_y</p:attrName>
                                        </p:attrNameLst>
                                      </p:cBhvr>
                                      <p:rCtr x="-1152" y="-10949"/>
                                    </p:animMotion>
                                  </p:childTnLst>
                                </p:cTn>
                              </p:par>
                              <p:par>
                                <p:cTn id="63" presetID="1" presetClass="entr" presetSubtype="0" fill="hold" grpId="0" nodeType="withEffect">
                                  <p:stCondLst>
                                    <p:cond delay="950"/>
                                  </p:stCondLst>
                                  <p:childTnLst>
                                    <p:set>
                                      <p:cBhvr>
                                        <p:cTn id="64" dur="1" fill="hold">
                                          <p:stCondLst>
                                            <p:cond delay="0"/>
                                          </p:stCondLst>
                                        </p:cTn>
                                        <p:tgtEl>
                                          <p:spTgt spid="103"/>
                                        </p:tgtEl>
                                        <p:attrNameLst>
                                          <p:attrName>style.visibility</p:attrName>
                                        </p:attrNameLst>
                                      </p:cBhvr>
                                      <p:to>
                                        <p:strVal val="visible"/>
                                      </p:to>
                                    </p:set>
                                  </p:childTnLst>
                                </p:cTn>
                              </p:par>
                              <p:par>
                                <p:cTn id="65" presetID="37" presetClass="path" presetSubtype="0" repeatCount="indefinite" fill="hold" grpId="1" nodeType="withEffect">
                                  <p:stCondLst>
                                    <p:cond delay="950"/>
                                  </p:stCondLst>
                                  <p:childTnLst>
                                    <p:animMotion origin="layout" path="M -0.09394 0.16308 C -0.09297 0.10787 0.01758 0.00452 0.01888 -0.04988 " pathEditMode="relative" rAng="0" ptsTypes="AA">
                                      <p:cBhvr>
                                        <p:cTn id="66" dur="1500" fill="hold"/>
                                        <p:tgtEl>
                                          <p:spTgt spid="103"/>
                                        </p:tgtEl>
                                        <p:attrNameLst>
                                          <p:attrName>ppt_x</p:attrName>
                                          <p:attrName>ppt_y</p:attrName>
                                        </p:attrNameLst>
                                      </p:cBhvr>
                                      <p:rCtr x="5638" y="-10648"/>
                                    </p:animMotion>
                                  </p:childTnLst>
                                </p:cTn>
                              </p:par>
                              <p:par>
                                <p:cTn id="67" presetID="1" presetClass="entr" presetSubtype="0" fill="hold" grpId="0" nodeType="withEffect">
                                  <p:stCondLst>
                                    <p:cond delay="1000"/>
                                  </p:stCondLst>
                                  <p:childTnLst>
                                    <p:set>
                                      <p:cBhvr>
                                        <p:cTn id="68" dur="1" fill="hold">
                                          <p:stCondLst>
                                            <p:cond delay="0"/>
                                          </p:stCondLst>
                                        </p:cTn>
                                        <p:tgtEl>
                                          <p:spTgt spid="67"/>
                                        </p:tgtEl>
                                        <p:attrNameLst>
                                          <p:attrName>style.visibility</p:attrName>
                                        </p:attrNameLst>
                                      </p:cBhvr>
                                      <p:to>
                                        <p:strVal val="visible"/>
                                      </p:to>
                                    </p:set>
                                  </p:childTnLst>
                                </p:cTn>
                              </p:par>
                              <p:par>
                                <p:cTn id="69" presetID="37" presetClass="path" presetSubtype="0" repeatCount="indefinite" fill="hold" grpId="1" nodeType="withEffect">
                                  <p:stCondLst>
                                    <p:cond delay="1000"/>
                                  </p:stCondLst>
                                  <p:childTnLst>
                                    <p:animMotion origin="layout" path="M 0.17011 0.19676 C 0.16953 0.14063 -0.00664 0.0316 -0.00528 -0.01979 " pathEditMode="relative" rAng="0" ptsTypes="AA">
                                      <p:cBhvr>
                                        <p:cTn id="70" dur="2000" fill="hold"/>
                                        <p:tgtEl>
                                          <p:spTgt spid="67"/>
                                        </p:tgtEl>
                                        <p:attrNameLst>
                                          <p:attrName>ppt_x</p:attrName>
                                          <p:attrName>ppt_y</p:attrName>
                                        </p:attrNameLst>
                                      </p:cBhvr>
                                      <p:rCtr x="-8770" y="-10833"/>
                                    </p:animMotion>
                                  </p:childTnLst>
                                </p:cTn>
                              </p:par>
                              <p:par>
                                <p:cTn id="71" presetID="1" presetClass="entr" presetSubtype="0" fill="hold" grpId="0" nodeType="withEffect">
                                  <p:stCondLst>
                                    <p:cond delay="1500"/>
                                  </p:stCondLst>
                                  <p:childTnLst>
                                    <p:set>
                                      <p:cBhvr>
                                        <p:cTn id="72" dur="1" fill="hold">
                                          <p:stCondLst>
                                            <p:cond delay="0"/>
                                          </p:stCondLst>
                                        </p:cTn>
                                        <p:tgtEl>
                                          <p:spTgt spid="60"/>
                                        </p:tgtEl>
                                        <p:attrNameLst>
                                          <p:attrName>style.visibility</p:attrName>
                                        </p:attrNameLst>
                                      </p:cBhvr>
                                      <p:to>
                                        <p:strVal val="visible"/>
                                      </p:to>
                                    </p:set>
                                  </p:childTnLst>
                                </p:cTn>
                              </p:par>
                              <p:par>
                                <p:cTn id="73" presetID="37" presetClass="path" presetSubtype="0" repeatCount="indefinite" fill="hold" grpId="1" nodeType="withEffect">
                                  <p:stCondLst>
                                    <p:cond delay="1500"/>
                                  </p:stCondLst>
                                  <p:childTnLst>
                                    <p:animMotion origin="layout" path="M 0.11152 0.13044 C 0.11094 0.07431 -0.06523 -0.03472 -0.06387 -0.08611 " pathEditMode="relative" rAng="0" ptsTypes="AA">
                                      <p:cBhvr>
                                        <p:cTn id="74" dur="2000" fill="hold"/>
                                        <p:tgtEl>
                                          <p:spTgt spid="60"/>
                                        </p:tgtEl>
                                        <p:attrNameLst>
                                          <p:attrName>ppt_x</p:attrName>
                                          <p:attrName>ppt_y</p:attrName>
                                        </p:attrNameLst>
                                      </p:cBhvr>
                                      <p:rCtr x="-8776" y="-10833"/>
                                    </p:animMotion>
                                  </p:childTnLst>
                                </p:cTn>
                              </p:par>
                              <p:par>
                                <p:cTn id="75" presetID="1" presetClass="entr" presetSubtype="0" fill="hold" grpId="0" nodeType="withEffect">
                                  <p:stCondLst>
                                    <p:cond delay="1100"/>
                                  </p:stCondLst>
                                  <p:childTnLst>
                                    <p:set>
                                      <p:cBhvr>
                                        <p:cTn id="76" dur="1" fill="hold">
                                          <p:stCondLst>
                                            <p:cond delay="0"/>
                                          </p:stCondLst>
                                        </p:cTn>
                                        <p:tgtEl>
                                          <p:spTgt spid="66"/>
                                        </p:tgtEl>
                                        <p:attrNameLst>
                                          <p:attrName>style.visibility</p:attrName>
                                        </p:attrNameLst>
                                      </p:cBhvr>
                                      <p:to>
                                        <p:strVal val="visible"/>
                                      </p:to>
                                    </p:set>
                                  </p:childTnLst>
                                </p:cTn>
                              </p:par>
                              <p:par>
                                <p:cTn id="77" presetID="37" presetClass="path" presetSubtype="0" repeatCount="indefinite" fill="hold" grpId="1" nodeType="withEffect">
                                  <p:stCondLst>
                                    <p:cond delay="1100"/>
                                  </p:stCondLst>
                                  <p:childTnLst>
                                    <p:animMotion origin="layout" path="M -0.04394 0.18854 C -0.04505 0.13738 0.00326 0.02072 0.00326 -0.02778 " pathEditMode="relative" rAng="0" ptsTypes="AA">
                                      <p:cBhvr>
                                        <p:cTn id="78" dur="2000" fill="hold"/>
                                        <p:tgtEl>
                                          <p:spTgt spid="66"/>
                                        </p:tgtEl>
                                        <p:attrNameLst>
                                          <p:attrName>ppt_x</p:attrName>
                                          <p:attrName>ppt_y</p:attrName>
                                        </p:attrNameLst>
                                      </p:cBhvr>
                                      <p:rCtr x="2357" y="-10822"/>
                                    </p:animMotion>
                                  </p:childTnLst>
                                </p:cTn>
                              </p:par>
                              <p:par>
                                <p:cTn id="79" presetID="1" presetClass="entr" presetSubtype="0" fill="hold" grpId="0" nodeType="withEffect">
                                  <p:stCondLst>
                                    <p:cond delay="1600"/>
                                  </p:stCondLst>
                                  <p:childTnLst>
                                    <p:set>
                                      <p:cBhvr>
                                        <p:cTn id="80" dur="1" fill="hold">
                                          <p:stCondLst>
                                            <p:cond delay="0"/>
                                          </p:stCondLst>
                                        </p:cTn>
                                        <p:tgtEl>
                                          <p:spTgt spid="63"/>
                                        </p:tgtEl>
                                        <p:attrNameLst>
                                          <p:attrName>style.visibility</p:attrName>
                                        </p:attrNameLst>
                                      </p:cBhvr>
                                      <p:to>
                                        <p:strVal val="visible"/>
                                      </p:to>
                                    </p:set>
                                  </p:childTnLst>
                                </p:cTn>
                              </p:par>
                              <p:par>
                                <p:cTn id="81" presetID="37" presetClass="path" presetSubtype="0" repeatCount="indefinite" fill="hold" grpId="1" nodeType="withEffect">
                                  <p:stCondLst>
                                    <p:cond delay="1600"/>
                                  </p:stCondLst>
                                  <p:childTnLst>
                                    <p:animMotion origin="layout" path="M -0.01484 0.07975 C -0.01595 0.02859 0.03236 -0.08808 0.03236 -0.13657 " pathEditMode="relative" rAng="0" ptsTypes="AA">
                                      <p:cBhvr>
                                        <p:cTn id="82" dur="2000" fill="hold"/>
                                        <p:tgtEl>
                                          <p:spTgt spid="63"/>
                                        </p:tgtEl>
                                        <p:attrNameLst>
                                          <p:attrName>ppt_x</p:attrName>
                                          <p:attrName>ppt_y</p:attrName>
                                        </p:attrNameLst>
                                      </p:cBhvr>
                                      <p:rCtr x="2357" y="-10822"/>
                                    </p:animMotion>
                                  </p:childTnLst>
                                </p:cTn>
                              </p:par>
                              <p:par>
                                <p:cTn id="83" presetID="1" presetClass="entr" presetSubtype="0" fill="hold" grpId="0" nodeType="withEffect">
                                  <p:stCondLst>
                                    <p:cond delay="1200"/>
                                  </p:stCondLst>
                                  <p:childTnLst>
                                    <p:set>
                                      <p:cBhvr>
                                        <p:cTn id="84" dur="1" fill="hold">
                                          <p:stCondLst>
                                            <p:cond delay="0"/>
                                          </p:stCondLst>
                                        </p:cTn>
                                        <p:tgtEl>
                                          <p:spTgt spid="62"/>
                                        </p:tgtEl>
                                        <p:attrNameLst>
                                          <p:attrName>style.visibility</p:attrName>
                                        </p:attrNameLst>
                                      </p:cBhvr>
                                      <p:to>
                                        <p:strVal val="visible"/>
                                      </p:to>
                                    </p:set>
                                  </p:childTnLst>
                                </p:cTn>
                              </p:par>
                              <p:par>
                                <p:cTn id="85" presetID="37" presetClass="path" presetSubtype="0" repeatCount="indefinite" fill="hold" grpId="1" nodeType="withEffect">
                                  <p:stCondLst>
                                    <p:cond delay="1200"/>
                                  </p:stCondLst>
                                  <p:childTnLst>
                                    <p:animMotion origin="layout" path="M 0.05052 0.10984 C 0.04941 0.05116 -0.04922 -0.05243 -0.04929 -0.10648 " pathEditMode="relative" rAng="0" ptsTypes="AA">
                                      <p:cBhvr>
                                        <p:cTn id="86" dur="1500" fill="hold"/>
                                        <p:tgtEl>
                                          <p:spTgt spid="62"/>
                                        </p:tgtEl>
                                        <p:attrNameLst>
                                          <p:attrName>ppt_x</p:attrName>
                                          <p:attrName>ppt_y</p:attrName>
                                        </p:attrNameLst>
                                      </p:cBhvr>
                                      <p:rCtr x="-4993" y="-10822"/>
                                    </p:animMotion>
                                  </p:childTnLst>
                                </p:cTn>
                              </p:par>
                              <p:par>
                                <p:cTn id="87" presetID="1" presetClass="entr" presetSubtype="0" fill="hold" grpId="0" nodeType="withEffect">
                                  <p:stCondLst>
                                    <p:cond delay="1800"/>
                                  </p:stCondLst>
                                  <p:childTnLst>
                                    <p:set>
                                      <p:cBhvr>
                                        <p:cTn id="88" dur="1" fill="hold">
                                          <p:stCondLst>
                                            <p:cond delay="0"/>
                                          </p:stCondLst>
                                        </p:cTn>
                                        <p:tgtEl>
                                          <p:spTgt spid="104"/>
                                        </p:tgtEl>
                                        <p:attrNameLst>
                                          <p:attrName>style.visibility</p:attrName>
                                        </p:attrNameLst>
                                      </p:cBhvr>
                                      <p:to>
                                        <p:strVal val="visible"/>
                                      </p:to>
                                    </p:set>
                                  </p:childTnLst>
                                </p:cTn>
                              </p:par>
                              <p:par>
                                <p:cTn id="89" presetID="37" presetClass="path" presetSubtype="0" repeatCount="indefinite" fill="hold" grpId="1" nodeType="withEffect">
                                  <p:stCondLst>
                                    <p:cond delay="1800"/>
                                  </p:stCondLst>
                                  <p:childTnLst>
                                    <p:animMotion origin="layout" path="M -0.00189 0.04167 C -0.00137 -0.12245 0.097 -0.2743 0.097 -0.36597 " pathEditMode="relative" rAng="0" ptsTypes="AA">
                                      <p:cBhvr>
                                        <p:cTn id="90" dur="2000" fill="hold"/>
                                        <p:tgtEl>
                                          <p:spTgt spid="104"/>
                                        </p:tgtEl>
                                        <p:attrNameLst>
                                          <p:attrName>ppt_x</p:attrName>
                                          <p:attrName>ppt_y</p:attrName>
                                        </p:attrNameLst>
                                      </p:cBhvr>
                                      <p:rCtr x="4941" y="-20382"/>
                                    </p:animMotion>
                                  </p:childTnLst>
                                </p:cTn>
                              </p:par>
                              <p:par>
                                <p:cTn id="91" presetID="1" presetClass="entr" presetSubtype="0" fill="hold" grpId="0" nodeType="withEffect">
                                  <p:stCondLst>
                                    <p:cond delay="1300"/>
                                  </p:stCondLst>
                                  <p:childTnLst>
                                    <p:set>
                                      <p:cBhvr>
                                        <p:cTn id="92" dur="1" fill="hold">
                                          <p:stCondLst>
                                            <p:cond delay="0"/>
                                          </p:stCondLst>
                                        </p:cTn>
                                        <p:tgtEl>
                                          <p:spTgt spid="53"/>
                                        </p:tgtEl>
                                        <p:attrNameLst>
                                          <p:attrName>style.visibility</p:attrName>
                                        </p:attrNameLst>
                                      </p:cBhvr>
                                      <p:to>
                                        <p:strVal val="visible"/>
                                      </p:to>
                                    </p:set>
                                  </p:childTnLst>
                                </p:cTn>
                              </p:par>
                              <p:par>
                                <p:cTn id="93" presetID="37" presetClass="path" presetSubtype="0" repeatCount="indefinite" fill="hold" grpId="1" nodeType="withEffect">
                                  <p:stCondLst>
                                    <p:cond delay="1300"/>
                                  </p:stCondLst>
                                  <p:childTnLst>
                                    <p:animMotion origin="layout" path="M -0.05787 0.25579 C -0.05735 0.09167 0.04102 -0.06018 0.04102 -0.15185 " pathEditMode="relative" rAng="0" ptsTypes="AA">
                                      <p:cBhvr>
                                        <p:cTn id="94" dur="2000" fill="hold"/>
                                        <p:tgtEl>
                                          <p:spTgt spid="53"/>
                                        </p:tgtEl>
                                        <p:attrNameLst>
                                          <p:attrName>ppt_x</p:attrName>
                                          <p:attrName>ppt_y</p:attrName>
                                        </p:attrNameLst>
                                      </p:cBhvr>
                                      <p:rCtr x="4941" y="-20382"/>
                                    </p:animMotion>
                                  </p:childTnLst>
                                </p:cTn>
                              </p:par>
                              <p:par>
                                <p:cTn id="95" presetID="1" presetClass="entr" presetSubtype="0" fill="hold" grpId="0" nodeType="withEffect">
                                  <p:stCondLst>
                                    <p:cond delay="1350"/>
                                  </p:stCondLst>
                                  <p:childTnLst>
                                    <p:set>
                                      <p:cBhvr>
                                        <p:cTn id="96" dur="1" fill="hold">
                                          <p:stCondLst>
                                            <p:cond delay="0"/>
                                          </p:stCondLst>
                                        </p:cTn>
                                        <p:tgtEl>
                                          <p:spTgt spid="64"/>
                                        </p:tgtEl>
                                        <p:attrNameLst>
                                          <p:attrName>style.visibility</p:attrName>
                                        </p:attrNameLst>
                                      </p:cBhvr>
                                      <p:to>
                                        <p:strVal val="visible"/>
                                      </p:to>
                                    </p:set>
                                  </p:childTnLst>
                                </p:cTn>
                              </p:par>
                              <p:par>
                                <p:cTn id="97" presetID="37" presetClass="path" presetSubtype="0" repeatCount="indefinite" fill="hold" grpId="1" nodeType="withEffect">
                                  <p:stCondLst>
                                    <p:cond delay="1350"/>
                                  </p:stCondLst>
                                  <p:childTnLst>
                                    <p:animMotion origin="layout" path="M -0.01667 0.06956 C -0.01667 -0.03032 0.14368 -0.20972 0.14434 -0.33542 " pathEditMode="relative" rAng="0" ptsTypes="AA">
                                      <p:cBhvr>
                                        <p:cTn id="98" dur="3000" fill="hold"/>
                                        <p:tgtEl>
                                          <p:spTgt spid="64"/>
                                        </p:tgtEl>
                                        <p:attrNameLst>
                                          <p:attrName>ppt_x</p:attrName>
                                          <p:attrName>ppt_y</p:attrName>
                                        </p:attrNameLst>
                                      </p:cBhvr>
                                      <p:rCtr x="8047" y="-20255"/>
                                    </p:animMotion>
                                  </p:childTnLst>
                                </p:cTn>
                              </p:par>
                              <p:par>
                                <p:cTn id="99" presetID="1" presetClass="entr" presetSubtype="0" fill="hold" grpId="0" nodeType="withEffect">
                                  <p:stCondLst>
                                    <p:cond delay="1400"/>
                                  </p:stCondLst>
                                  <p:childTnLst>
                                    <p:set>
                                      <p:cBhvr>
                                        <p:cTn id="100" dur="1" fill="hold">
                                          <p:stCondLst>
                                            <p:cond delay="0"/>
                                          </p:stCondLst>
                                        </p:cTn>
                                        <p:tgtEl>
                                          <p:spTgt spid="54"/>
                                        </p:tgtEl>
                                        <p:attrNameLst>
                                          <p:attrName>style.visibility</p:attrName>
                                        </p:attrNameLst>
                                      </p:cBhvr>
                                      <p:to>
                                        <p:strVal val="visible"/>
                                      </p:to>
                                    </p:set>
                                  </p:childTnLst>
                                </p:cTn>
                              </p:par>
                              <p:par>
                                <p:cTn id="101" presetID="37" presetClass="path" presetSubtype="0" repeatCount="indefinite" fill="hold" grpId="1" nodeType="withEffect">
                                  <p:stCondLst>
                                    <p:cond delay="1400"/>
                                  </p:stCondLst>
                                  <p:childTnLst>
                                    <p:animMotion origin="layout" path="M 0.11277 0.35914 C 0.11303 0.20833 -0.00813 0.04513 -0.00813 -0.04642 " pathEditMode="relative" rAng="0" ptsTypes="AA">
                                      <p:cBhvr>
                                        <p:cTn id="102" dur="3000" fill="hold"/>
                                        <p:tgtEl>
                                          <p:spTgt spid="54"/>
                                        </p:tgtEl>
                                        <p:attrNameLst>
                                          <p:attrName>ppt_x</p:attrName>
                                          <p:attrName>ppt_y</p:attrName>
                                        </p:attrNameLst>
                                      </p:cBhvr>
                                      <p:rCtr x="-6048" y="-20278"/>
                                    </p:animMotion>
                                  </p:childTnLst>
                                </p:cTn>
                              </p:par>
                              <p:par>
                                <p:cTn id="103" presetID="1" presetClass="entr" presetSubtype="0" fill="hold" grpId="0" nodeType="withEffect">
                                  <p:stCondLst>
                                    <p:cond delay="1450"/>
                                  </p:stCondLst>
                                  <p:childTnLst>
                                    <p:set>
                                      <p:cBhvr>
                                        <p:cTn id="104" dur="1" fill="hold">
                                          <p:stCondLst>
                                            <p:cond delay="0"/>
                                          </p:stCondLst>
                                        </p:cTn>
                                        <p:tgtEl>
                                          <p:spTgt spid="57"/>
                                        </p:tgtEl>
                                        <p:attrNameLst>
                                          <p:attrName>style.visibility</p:attrName>
                                        </p:attrNameLst>
                                      </p:cBhvr>
                                      <p:to>
                                        <p:strVal val="visible"/>
                                      </p:to>
                                    </p:set>
                                  </p:childTnLst>
                                </p:cTn>
                              </p:par>
                              <p:par>
                                <p:cTn id="105" presetID="37" presetClass="path" presetSubtype="0" repeatCount="indefinite" fill="hold" grpId="1" nodeType="withEffect">
                                  <p:stCondLst>
                                    <p:cond delay="1450"/>
                                  </p:stCondLst>
                                  <p:childTnLst>
                                    <p:animMotion origin="layout" path="M 0.02403 0.06747 C 0.02311 -0.01875 -0.0791 -0.05452 -0.0791 -0.14572 " pathEditMode="relative" rAng="0" ptsTypes="AA">
                                      <p:cBhvr>
                                        <p:cTn id="106" dur="2500" fill="hold"/>
                                        <p:tgtEl>
                                          <p:spTgt spid="57"/>
                                        </p:tgtEl>
                                        <p:attrNameLst>
                                          <p:attrName>ppt_x</p:attrName>
                                          <p:attrName>ppt_y</p:attrName>
                                        </p:attrNameLst>
                                      </p:cBhvr>
                                      <p:rCtr x="-5156" y="-10660"/>
                                    </p:animMotion>
                                  </p:childTnLst>
                                </p:cTn>
                              </p:par>
                              <p:par>
                                <p:cTn id="107" presetID="1" presetClass="entr" presetSubtype="0" fill="hold" grpId="0" nodeType="withEffect">
                                  <p:stCondLst>
                                    <p:cond delay="2000"/>
                                  </p:stCondLst>
                                  <p:childTnLst>
                                    <p:set>
                                      <p:cBhvr>
                                        <p:cTn id="108" dur="1" fill="hold">
                                          <p:stCondLst>
                                            <p:cond delay="0"/>
                                          </p:stCondLst>
                                        </p:cTn>
                                        <p:tgtEl>
                                          <p:spTgt spid="37"/>
                                        </p:tgtEl>
                                        <p:attrNameLst>
                                          <p:attrName>style.visibility</p:attrName>
                                        </p:attrNameLst>
                                      </p:cBhvr>
                                      <p:to>
                                        <p:strVal val="visible"/>
                                      </p:to>
                                    </p:set>
                                  </p:childTnLst>
                                </p:cTn>
                              </p:par>
                              <p:par>
                                <p:cTn id="109" presetID="37" presetClass="path" presetSubtype="0" repeatCount="indefinite" fill="hold" grpId="1" nodeType="withEffect">
                                  <p:stCondLst>
                                    <p:cond delay="2000"/>
                                  </p:stCondLst>
                                  <p:childTnLst>
                                    <p:animMotion origin="layout" path="M -0.07201 0.15776 C -0.07162 0.08403 0.04804 -0.01886 0.04557 -0.18194 " pathEditMode="relative" rAng="0" ptsTypes="AA">
                                      <p:cBhvr>
                                        <p:cTn id="110" dur="1500" fill="hold"/>
                                        <p:tgtEl>
                                          <p:spTgt spid="37"/>
                                        </p:tgtEl>
                                        <p:attrNameLst>
                                          <p:attrName>ppt_x</p:attrName>
                                          <p:attrName>ppt_y</p:attrName>
                                        </p:attrNameLst>
                                      </p:cBhvr>
                                      <p:rCtr x="5879" y="-16991"/>
                                    </p:animMotion>
                                  </p:childTnLst>
                                </p:cTn>
                              </p:par>
                              <p:par>
                                <p:cTn id="111" presetID="1" presetClass="entr" presetSubtype="0" fill="hold" grpId="0" nodeType="withEffect">
                                  <p:stCondLst>
                                    <p:cond delay="1850"/>
                                  </p:stCondLst>
                                  <p:childTnLst>
                                    <p:set>
                                      <p:cBhvr>
                                        <p:cTn id="112" dur="1" fill="hold">
                                          <p:stCondLst>
                                            <p:cond delay="0"/>
                                          </p:stCondLst>
                                        </p:cTn>
                                        <p:tgtEl>
                                          <p:spTgt spid="56"/>
                                        </p:tgtEl>
                                        <p:attrNameLst>
                                          <p:attrName>style.visibility</p:attrName>
                                        </p:attrNameLst>
                                      </p:cBhvr>
                                      <p:to>
                                        <p:strVal val="visible"/>
                                      </p:to>
                                    </p:set>
                                  </p:childTnLst>
                                </p:cTn>
                              </p:par>
                              <p:par>
                                <p:cTn id="113" presetID="37" presetClass="path" presetSubtype="0" repeatCount="indefinite" fill="hold" grpId="1" nodeType="withEffect">
                                  <p:stCondLst>
                                    <p:cond delay="1850"/>
                                  </p:stCondLst>
                                  <p:childTnLst>
                                    <p:animMotion origin="layout" path="M -0.13607 0.30428 C -0.13607 0.20439 0.02428 0.025 0.02494 -0.1007 " pathEditMode="relative" rAng="0" ptsTypes="AA">
                                      <p:cBhvr>
                                        <p:cTn id="114" dur="3000" fill="hold"/>
                                        <p:tgtEl>
                                          <p:spTgt spid="56"/>
                                        </p:tgtEl>
                                        <p:attrNameLst>
                                          <p:attrName>ppt_x</p:attrName>
                                          <p:attrName>ppt_y</p:attrName>
                                        </p:attrNameLst>
                                      </p:cBhvr>
                                      <p:rCtr x="8047" y="-20255"/>
                                    </p:animMotion>
                                  </p:childTnLst>
                                </p:cTn>
                              </p:par>
                              <p:par>
                                <p:cTn id="115" presetID="1" presetClass="entr" presetSubtype="0" fill="hold" grpId="0" nodeType="withEffect">
                                  <p:stCondLst>
                                    <p:cond delay="2250"/>
                                  </p:stCondLst>
                                  <p:childTnLst>
                                    <p:set>
                                      <p:cBhvr>
                                        <p:cTn id="116" dur="1" fill="hold">
                                          <p:stCondLst>
                                            <p:cond delay="0"/>
                                          </p:stCondLst>
                                        </p:cTn>
                                        <p:tgtEl>
                                          <p:spTgt spid="28"/>
                                        </p:tgtEl>
                                        <p:attrNameLst>
                                          <p:attrName>style.visibility</p:attrName>
                                        </p:attrNameLst>
                                      </p:cBhvr>
                                      <p:to>
                                        <p:strVal val="visible"/>
                                      </p:to>
                                    </p:set>
                                  </p:childTnLst>
                                </p:cTn>
                              </p:par>
                              <p:par>
                                <p:cTn id="117" presetID="37" presetClass="path" presetSubtype="0" repeatCount="indefinite" fill="hold" grpId="1" nodeType="withEffect">
                                  <p:stCondLst>
                                    <p:cond delay="2250"/>
                                  </p:stCondLst>
                                  <p:childTnLst>
                                    <p:animMotion origin="layout" path="M 0.12631 0.46701 C 0.11993 0.38981 0.0834 0.31354 0.04734 0.21284 C 0.01582 0.12025 -0.00826 0.00601 -0.00755 -0.14017 " pathEditMode="relative" rAng="0" ptsTypes="AAA">
                                      <p:cBhvr>
                                        <p:cTn id="118" dur="3500" fill="hold"/>
                                        <p:tgtEl>
                                          <p:spTgt spid="28"/>
                                        </p:tgtEl>
                                        <p:attrNameLst>
                                          <p:attrName>ppt_x</p:attrName>
                                          <p:attrName>ppt_y</p:attrName>
                                        </p:attrNameLst>
                                      </p:cBhvr>
                                      <p:rCtr x="-6699" y="-30359"/>
                                    </p:animMotion>
                                  </p:childTnLst>
                                </p:cTn>
                              </p:par>
                              <p:par>
                                <p:cTn id="119" presetID="1" presetClass="entr" presetSubtype="0" fill="hold" grpId="0" nodeType="withEffect">
                                  <p:stCondLst>
                                    <p:cond delay="3250"/>
                                  </p:stCondLst>
                                  <p:childTnLst>
                                    <p:set>
                                      <p:cBhvr>
                                        <p:cTn id="120" dur="1" fill="hold">
                                          <p:stCondLst>
                                            <p:cond delay="0"/>
                                          </p:stCondLst>
                                        </p:cTn>
                                        <p:tgtEl>
                                          <p:spTgt spid="101"/>
                                        </p:tgtEl>
                                        <p:attrNameLst>
                                          <p:attrName>style.visibility</p:attrName>
                                        </p:attrNameLst>
                                      </p:cBhvr>
                                      <p:to>
                                        <p:strVal val="visible"/>
                                      </p:to>
                                    </p:set>
                                  </p:childTnLst>
                                </p:cTn>
                              </p:par>
                              <p:par>
                                <p:cTn id="121" presetID="37" presetClass="path" presetSubtype="0" repeatCount="indefinite" fill="hold" grpId="1" nodeType="withEffect">
                                  <p:stCondLst>
                                    <p:cond delay="3250"/>
                                  </p:stCondLst>
                                  <p:childTnLst>
                                    <p:animMotion origin="layout" path="M 0.07363 0.23924 C 0.06725 0.16204 0.03073 0.08576 -0.00534 -0.01493 C -0.03685 -0.10752 -0.06094 -0.22176 -0.06022 -0.36794 " pathEditMode="relative" rAng="0" ptsTypes="AAA">
                                      <p:cBhvr>
                                        <p:cTn id="122" dur="3500" fill="hold"/>
                                        <p:tgtEl>
                                          <p:spTgt spid="101"/>
                                        </p:tgtEl>
                                        <p:attrNameLst>
                                          <p:attrName>ppt_x</p:attrName>
                                          <p:attrName>ppt_y</p:attrName>
                                        </p:attrNameLst>
                                      </p:cBhvr>
                                      <p:rCtr x="-6699" y="-30359"/>
                                    </p:animMotion>
                                  </p:childTnLst>
                                </p:cTn>
                              </p:par>
                              <p:par>
                                <p:cTn id="123" presetID="1" presetClass="entr" presetSubtype="0" fill="hold" grpId="0" nodeType="withEffect">
                                  <p:stCondLst>
                                    <p:cond delay="2250"/>
                                  </p:stCondLst>
                                  <p:childTnLst>
                                    <p:set>
                                      <p:cBhvr>
                                        <p:cTn id="124" dur="1" fill="hold">
                                          <p:stCondLst>
                                            <p:cond delay="0"/>
                                          </p:stCondLst>
                                        </p:cTn>
                                        <p:tgtEl>
                                          <p:spTgt spid="36"/>
                                        </p:tgtEl>
                                        <p:attrNameLst>
                                          <p:attrName>style.visibility</p:attrName>
                                        </p:attrNameLst>
                                      </p:cBhvr>
                                      <p:to>
                                        <p:strVal val="visible"/>
                                      </p:to>
                                    </p:set>
                                  </p:childTnLst>
                                </p:cTn>
                              </p:par>
                              <p:par>
                                <p:cTn id="125" presetID="37" presetClass="path" presetSubtype="0" repeatCount="indefinite" fill="hold" grpId="1" nodeType="withEffect">
                                  <p:stCondLst>
                                    <p:cond delay="2250"/>
                                  </p:stCondLst>
                                  <p:childTnLst>
                                    <p:animMotion origin="layout" path="M -0.04856 0.236 C -0.04856 0.11679 0.00944 0.00614 0.00951 -0.06204 " pathEditMode="relative" rAng="0" ptsTypes="AA">
                                      <p:cBhvr>
                                        <p:cTn id="126" dur="1500" fill="hold"/>
                                        <p:tgtEl>
                                          <p:spTgt spid="36"/>
                                        </p:tgtEl>
                                        <p:attrNameLst>
                                          <p:attrName>ppt_x</p:attrName>
                                          <p:attrName>ppt_y</p:attrName>
                                        </p:attrNameLst>
                                      </p:cBhvr>
                                      <p:rCtr x="2904" y="-14907"/>
                                    </p:animMotion>
                                  </p:childTnLst>
                                </p:cTn>
                              </p:par>
                              <p:par>
                                <p:cTn id="127" presetID="1" presetClass="entr" presetSubtype="0" fill="hold" grpId="0" nodeType="withEffect">
                                  <p:stCondLst>
                                    <p:cond delay="3000"/>
                                  </p:stCondLst>
                                  <p:childTnLst>
                                    <p:set>
                                      <p:cBhvr>
                                        <p:cTn id="128" dur="1" fill="hold">
                                          <p:stCondLst>
                                            <p:cond delay="0"/>
                                          </p:stCondLst>
                                        </p:cTn>
                                        <p:tgtEl>
                                          <p:spTgt spid="43"/>
                                        </p:tgtEl>
                                        <p:attrNameLst>
                                          <p:attrName>style.visibility</p:attrName>
                                        </p:attrNameLst>
                                      </p:cBhvr>
                                      <p:to>
                                        <p:strVal val="visible"/>
                                      </p:to>
                                    </p:set>
                                  </p:childTnLst>
                                </p:cTn>
                              </p:par>
                              <p:par>
                                <p:cTn id="129" presetID="37" presetClass="path" presetSubtype="0" repeatCount="indefinite" fill="hold" grpId="1" nodeType="withEffect">
                                  <p:stCondLst>
                                    <p:cond delay="3000"/>
                                  </p:stCondLst>
                                  <p:childTnLst>
                                    <p:animMotion origin="layout" path="M -0.00169 0.03715 C -0.00169 -0.08206 0.05631 -0.19271 0.05638 -0.26088 " pathEditMode="relative" rAng="0" ptsTypes="AA">
                                      <p:cBhvr>
                                        <p:cTn id="130" dur="1500" fill="hold"/>
                                        <p:tgtEl>
                                          <p:spTgt spid="43"/>
                                        </p:tgtEl>
                                        <p:attrNameLst>
                                          <p:attrName>ppt_x</p:attrName>
                                          <p:attrName>ppt_y</p:attrName>
                                        </p:attrNameLst>
                                      </p:cBhvr>
                                      <p:rCtr x="2904" y="-14907"/>
                                    </p:animMotion>
                                  </p:childTnLst>
                                </p:cTn>
                              </p:par>
                              <p:par>
                                <p:cTn id="131" presetID="1" presetClass="entr" presetSubtype="0" fill="hold" grpId="0" nodeType="withEffect">
                                  <p:stCondLst>
                                    <p:cond delay="2350"/>
                                  </p:stCondLst>
                                  <p:childTnLst>
                                    <p:set>
                                      <p:cBhvr>
                                        <p:cTn id="132" dur="1" fill="hold">
                                          <p:stCondLst>
                                            <p:cond delay="0"/>
                                          </p:stCondLst>
                                        </p:cTn>
                                        <p:tgtEl>
                                          <p:spTgt spid="46"/>
                                        </p:tgtEl>
                                        <p:attrNameLst>
                                          <p:attrName>style.visibility</p:attrName>
                                        </p:attrNameLst>
                                      </p:cBhvr>
                                      <p:to>
                                        <p:strVal val="visible"/>
                                      </p:to>
                                    </p:set>
                                  </p:childTnLst>
                                </p:cTn>
                              </p:par>
                              <p:par>
                                <p:cTn id="133" presetID="37" presetClass="path" presetSubtype="0" repeatCount="indefinite" fill="hold" grpId="1" nodeType="withEffect">
                                  <p:stCondLst>
                                    <p:cond delay="2350"/>
                                  </p:stCondLst>
                                  <p:childTnLst>
                                    <p:animMotion origin="layout" path="M 0.08477 0.27801 C 0.08457 0.20509 -0.00234 0.05231 -0.00208 -0.02512 " pathEditMode="relative" rAng="0" ptsTypes="AA">
                                      <p:cBhvr>
                                        <p:cTn id="134" dur="1500" fill="hold"/>
                                        <p:tgtEl>
                                          <p:spTgt spid="46"/>
                                        </p:tgtEl>
                                        <p:attrNameLst>
                                          <p:attrName>ppt_x</p:attrName>
                                          <p:attrName>ppt_y</p:attrName>
                                        </p:attrNameLst>
                                      </p:cBhvr>
                                      <p:rCtr x="-4342" y="-15162"/>
                                    </p:animMotion>
                                  </p:childTnLst>
                                </p:cTn>
                              </p:par>
                              <p:par>
                                <p:cTn id="135" presetID="1" presetClass="entr" presetSubtype="0" fill="hold" grpId="0" nodeType="withEffect">
                                  <p:stCondLst>
                                    <p:cond delay="2400"/>
                                  </p:stCondLst>
                                  <p:childTnLst>
                                    <p:set>
                                      <p:cBhvr>
                                        <p:cTn id="136" dur="1" fill="hold">
                                          <p:stCondLst>
                                            <p:cond delay="0"/>
                                          </p:stCondLst>
                                        </p:cTn>
                                        <p:tgtEl>
                                          <p:spTgt spid="35"/>
                                        </p:tgtEl>
                                        <p:attrNameLst>
                                          <p:attrName>style.visibility</p:attrName>
                                        </p:attrNameLst>
                                      </p:cBhvr>
                                      <p:to>
                                        <p:strVal val="visible"/>
                                      </p:to>
                                    </p:set>
                                  </p:childTnLst>
                                </p:cTn>
                              </p:par>
                              <p:par>
                                <p:cTn id="137" presetID="37" presetClass="path" presetSubtype="0" repeatCount="indefinite" fill="hold" grpId="1" nodeType="withEffect">
                                  <p:stCondLst>
                                    <p:cond delay="2400"/>
                                  </p:stCondLst>
                                  <p:childTnLst>
                                    <p:animMotion origin="layout" path="M 0.05488 0.13958 C 0.05182 0.08681 -0.05703 -0.09109 -0.05677 -0.16817 " pathEditMode="relative" rAng="0" ptsTypes="AA">
                                      <p:cBhvr>
                                        <p:cTn id="138" dur="1500" fill="hold"/>
                                        <p:tgtEl>
                                          <p:spTgt spid="35"/>
                                        </p:tgtEl>
                                        <p:attrNameLst>
                                          <p:attrName>ppt_x</p:attrName>
                                          <p:attrName>ppt_y</p:attrName>
                                        </p:attrNameLst>
                                      </p:cBhvr>
                                      <p:rCtr x="-5586" y="-15394"/>
                                    </p:animMotion>
                                  </p:childTnLst>
                                </p:cTn>
                              </p:par>
                              <p:par>
                                <p:cTn id="139" presetID="1" presetClass="entr" presetSubtype="0" fill="hold" grpId="0" nodeType="withEffect">
                                  <p:stCondLst>
                                    <p:cond delay="2450"/>
                                  </p:stCondLst>
                                  <p:childTnLst>
                                    <p:set>
                                      <p:cBhvr>
                                        <p:cTn id="140" dur="1" fill="hold">
                                          <p:stCondLst>
                                            <p:cond delay="0"/>
                                          </p:stCondLst>
                                        </p:cTn>
                                        <p:tgtEl>
                                          <p:spTgt spid="48"/>
                                        </p:tgtEl>
                                        <p:attrNameLst>
                                          <p:attrName>style.visibility</p:attrName>
                                        </p:attrNameLst>
                                      </p:cBhvr>
                                      <p:to>
                                        <p:strVal val="visible"/>
                                      </p:to>
                                    </p:set>
                                  </p:childTnLst>
                                </p:cTn>
                              </p:par>
                              <p:par>
                                <p:cTn id="141" presetID="37" presetClass="path" presetSubtype="0" repeatCount="indefinite" fill="hold" grpId="1" nodeType="withEffect">
                                  <p:stCondLst>
                                    <p:cond delay="2450"/>
                                  </p:stCondLst>
                                  <p:childTnLst>
                                    <p:animMotion origin="layout" path="M -0.02748 0.20452 C -0.02572 0.10753 0.01002 -0.01886 0.0112 -0.09814 " pathEditMode="relative" rAng="0" ptsTypes="AA">
                                      <p:cBhvr>
                                        <p:cTn id="142" dur="1500" fill="hold"/>
                                        <p:tgtEl>
                                          <p:spTgt spid="48"/>
                                        </p:tgtEl>
                                        <p:attrNameLst>
                                          <p:attrName>ppt_x</p:attrName>
                                          <p:attrName>ppt_y</p:attrName>
                                        </p:attrNameLst>
                                      </p:cBhvr>
                                      <p:rCtr x="1934" y="-15139"/>
                                    </p:animMotion>
                                  </p:childTnLst>
                                </p:cTn>
                              </p:par>
                              <p:par>
                                <p:cTn id="143" presetID="1" presetClass="entr" presetSubtype="0" fill="hold" grpId="0" nodeType="withEffect">
                                  <p:stCondLst>
                                    <p:cond delay="2500"/>
                                  </p:stCondLst>
                                  <p:childTnLst>
                                    <p:set>
                                      <p:cBhvr>
                                        <p:cTn id="144" dur="1" fill="hold">
                                          <p:stCondLst>
                                            <p:cond delay="0"/>
                                          </p:stCondLst>
                                        </p:cTn>
                                        <p:tgtEl>
                                          <p:spTgt spid="61"/>
                                        </p:tgtEl>
                                        <p:attrNameLst>
                                          <p:attrName>style.visibility</p:attrName>
                                        </p:attrNameLst>
                                      </p:cBhvr>
                                      <p:to>
                                        <p:strVal val="visible"/>
                                      </p:to>
                                    </p:set>
                                  </p:childTnLst>
                                </p:cTn>
                              </p:par>
                              <p:par>
                                <p:cTn id="145" presetID="37" presetClass="path" presetSubtype="0" repeatCount="indefinite" fill="hold" grpId="1" nodeType="withEffect">
                                  <p:stCondLst>
                                    <p:cond delay="2500"/>
                                  </p:stCondLst>
                                  <p:childTnLst>
                                    <p:animMotion origin="layout" path="M -0.06764 0.16482 C -0.06778 0.08299 0.07298 -0.05741 0.07344 -0.27014 " pathEditMode="relative" rAng="0" ptsTypes="AA">
                                      <p:cBhvr>
                                        <p:cTn id="146" dur="1500" fill="hold"/>
                                        <p:tgtEl>
                                          <p:spTgt spid="61"/>
                                        </p:tgtEl>
                                        <p:attrNameLst>
                                          <p:attrName>ppt_x</p:attrName>
                                          <p:attrName>ppt_y</p:attrName>
                                        </p:attrNameLst>
                                      </p:cBhvr>
                                      <p:rCtr x="7051" y="-21748"/>
                                    </p:animMotion>
                                  </p:childTnLst>
                                </p:cTn>
                              </p:par>
                              <p:par>
                                <p:cTn id="147" presetID="1" presetClass="entr" presetSubtype="0" fill="hold" grpId="0" nodeType="withEffect">
                                  <p:stCondLst>
                                    <p:cond delay="2550"/>
                                  </p:stCondLst>
                                  <p:childTnLst>
                                    <p:set>
                                      <p:cBhvr>
                                        <p:cTn id="148" dur="1" fill="hold">
                                          <p:stCondLst>
                                            <p:cond delay="0"/>
                                          </p:stCondLst>
                                        </p:cTn>
                                        <p:tgtEl>
                                          <p:spTgt spid="50"/>
                                        </p:tgtEl>
                                        <p:attrNameLst>
                                          <p:attrName>style.visibility</p:attrName>
                                        </p:attrNameLst>
                                      </p:cBhvr>
                                      <p:to>
                                        <p:strVal val="visible"/>
                                      </p:to>
                                    </p:set>
                                  </p:childTnLst>
                                </p:cTn>
                              </p:par>
                              <p:par>
                                <p:cTn id="149" presetID="37" presetClass="path" presetSubtype="0" repeatCount="indefinite" fill="hold" grpId="1" nodeType="withEffect">
                                  <p:stCondLst>
                                    <p:cond delay="2550"/>
                                  </p:stCondLst>
                                  <p:childTnLst>
                                    <p:animMotion origin="layout" path="M -0.0569 0.05313 C -0.04902 -0.0059 0.09961 -0.02326 0.09974 -0.05347 " pathEditMode="relative" rAng="0" ptsTypes="AA">
                                      <p:cBhvr>
                                        <p:cTn id="150" dur="1500" fill="hold"/>
                                        <p:tgtEl>
                                          <p:spTgt spid="50"/>
                                        </p:tgtEl>
                                        <p:attrNameLst>
                                          <p:attrName>ppt_x</p:attrName>
                                          <p:attrName>ppt_y</p:attrName>
                                        </p:attrNameLst>
                                      </p:cBhvr>
                                      <p:rCtr x="7832" y="-5336"/>
                                    </p:animMotion>
                                  </p:childTnLst>
                                </p:cTn>
                              </p:par>
                              <p:par>
                                <p:cTn id="151" presetID="1" presetClass="entr" presetSubtype="0" fill="hold" grpId="0" nodeType="withEffect">
                                  <p:stCondLst>
                                    <p:cond delay="2600"/>
                                  </p:stCondLst>
                                  <p:childTnLst>
                                    <p:set>
                                      <p:cBhvr>
                                        <p:cTn id="152" dur="1" fill="hold">
                                          <p:stCondLst>
                                            <p:cond delay="0"/>
                                          </p:stCondLst>
                                        </p:cTn>
                                        <p:tgtEl>
                                          <p:spTgt spid="55"/>
                                        </p:tgtEl>
                                        <p:attrNameLst>
                                          <p:attrName>style.visibility</p:attrName>
                                        </p:attrNameLst>
                                      </p:cBhvr>
                                      <p:to>
                                        <p:strVal val="visible"/>
                                      </p:to>
                                    </p:set>
                                  </p:childTnLst>
                                </p:cTn>
                              </p:par>
                              <p:par>
                                <p:cTn id="153" presetID="37" presetClass="path" presetSubtype="0" repeatCount="indefinite" fill="hold" grpId="1" nodeType="withEffect">
                                  <p:stCondLst>
                                    <p:cond delay="2600"/>
                                  </p:stCondLst>
                                  <p:childTnLst>
                                    <p:animMotion origin="layout" path="M -0.03958 0.06123 C -0.03919 0.00359 0.02865 0.00394 0.02826 -0.04826 " pathEditMode="relative" rAng="0" ptsTypes="AA">
                                      <p:cBhvr>
                                        <p:cTn id="154" dur="1500" fill="hold"/>
                                        <p:tgtEl>
                                          <p:spTgt spid="55"/>
                                        </p:tgtEl>
                                        <p:attrNameLst>
                                          <p:attrName>ppt_x</p:attrName>
                                          <p:attrName>ppt_y</p:attrName>
                                        </p:attrNameLst>
                                      </p:cBhvr>
                                      <p:rCtr x="3392" y="-5475"/>
                                    </p:animMotion>
                                  </p:childTnLst>
                                </p:cTn>
                              </p:par>
                              <p:par>
                                <p:cTn id="155" presetID="1" presetClass="entr" presetSubtype="0" fill="hold" grpId="0" nodeType="withEffect">
                                  <p:stCondLst>
                                    <p:cond delay="2300"/>
                                  </p:stCondLst>
                                  <p:childTnLst>
                                    <p:set>
                                      <p:cBhvr>
                                        <p:cTn id="156" dur="1" fill="hold">
                                          <p:stCondLst>
                                            <p:cond delay="0"/>
                                          </p:stCondLst>
                                        </p:cTn>
                                        <p:tgtEl>
                                          <p:spTgt spid="51"/>
                                        </p:tgtEl>
                                        <p:attrNameLst>
                                          <p:attrName>style.visibility</p:attrName>
                                        </p:attrNameLst>
                                      </p:cBhvr>
                                      <p:to>
                                        <p:strVal val="visible"/>
                                      </p:to>
                                    </p:set>
                                  </p:childTnLst>
                                </p:cTn>
                              </p:par>
                              <p:par>
                                <p:cTn id="157" presetID="37" presetClass="path" presetSubtype="0" repeatCount="indefinite" fill="hold" grpId="1" nodeType="withEffect">
                                  <p:stCondLst>
                                    <p:cond delay="2300"/>
                                  </p:stCondLst>
                                  <p:childTnLst>
                                    <p:animMotion origin="layout" path="M -0.09831 0.2618 C -0.0959 0.17454 0.09427 -0.14005 0.09498 -0.34317 " pathEditMode="relative" rAng="0" ptsTypes="AA">
                                      <p:cBhvr>
                                        <p:cTn id="158" dur="3500" fill="hold"/>
                                        <p:tgtEl>
                                          <p:spTgt spid="51"/>
                                        </p:tgtEl>
                                        <p:attrNameLst>
                                          <p:attrName>ppt_x</p:attrName>
                                          <p:attrName>ppt_y</p:attrName>
                                        </p:attrNameLst>
                                      </p:cBhvr>
                                      <p:rCtr x="9661" y="-30255"/>
                                    </p:animMotion>
                                  </p:childTnLst>
                                </p:cTn>
                              </p:par>
                              <p:par>
                                <p:cTn id="159" presetID="1" presetClass="entr" presetSubtype="0" fill="hold" grpId="0" nodeType="withEffect">
                                  <p:stCondLst>
                                    <p:cond delay="3500"/>
                                  </p:stCondLst>
                                  <p:childTnLst>
                                    <p:set>
                                      <p:cBhvr>
                                        <p:cTn id="160" dur="1" fill="hold">
                                          <p:stCondLst>
                                            <p:cond delay="0"/>
                                          </p:stCondLst>
                                        </p:cTn>
                                        <p:tgtEl>
                                          <p:spTgt spid="31"/>
                                        </p:tgtEl>
                                        <p:attrNameLst>
                                          <p:attrName>style.visibility</p:attrName>
                                        </p:attrNameLst>
                                      </p:cBhvr>
                                      <p:to>
                                        <p:strVal val="visible"/>
                                      </p:to>
                                    </p:set>
                                  </p:childTnLst>
                                </p:cTn>
                              </p:par>
                              <p:par>
                                <p:cTn id="161" presetID="37" presetClass="path" presetSubtype="0" repeatCount="indefinite" fill="hold" grpId="1" nodeType="withEffect">
                                  <p:stCondLst>
                                    <p:cond delay="3500"/>
                                  </p:stCondLst>
                                  <p:childTnLst>
                                    <p:animMotion origin="layout" path="M -0.19161 0.56737 C -0.1892 0.4801 0.00097 0.16551 0.00169 -0.03761 " pathEditMode="relative" rAng="0" ptsTypes="AA">
                                      <p:cBhvr>
                                        <p:cTn id="162" dur="3500" fill="hold"/>
                                        <p:tgtEl>
                                          <p:spTgt spid="31"/>
                                        </p:tgtEl>
                                        <p:attrNameLst>
                                          <p:attrName>ppt_x</p:attrName>
                                          <p:attrName>ppt_y</p:attrName>
                                        </p:attrNameLst>
                                      </p:cBhvr>
                                      <p:rCtr x="9661" y="-30255"/>
                                    </p:animMotion>
                                  </p:childTnLst>
                                </p:cTn>
                              </p:par>
                              <p:par>
                                <p:cTn id="163" presetID="1" presetClass="entr" presetSubtype="0" fill="hold" grpId="0" nodeType="withEffect">
                                  <p:stCondLst>
                                    <p:cond delay="3950"/>
                                  </p:stCondLst>
                                  <p:childTnLst>
                                    <p:set>
                                      <p:cBhvr>
                                        <p:cTn id="164" dur="1" fill="hold">
                                          <p:stCondLst>
                                            <p:cond delay="0"/>
                                          </p:stCondLst>
                                        </p:cTn>
                                        <p:tgtEl>
                                          <p:spTgt spid="32"/>
                                        </p:tgtEl>
                                        <p:attrNameLst>
                                          <p:attrName>style.visibility</p:attrName>
                                        </p:attrNameLst>
                                      </p:cBhvr>
                                      <p:to>
                                        <p:strVal val="visible"/>
                                      </p:to>
                                    </p:set>
                                  </p:childTnLst>
                                </p:cTn>
                              </p:par>
                              <p:par>
                                <p:cTn id="165" presetID="37" presetClass="path" presetSubtype="0" repeatCount="indefinite" fill="hold" grpId="1" nodeType="withEffect">
                                  <p:stCondLst>
                                    <p:cond delay="3950"/>
                                  </p:stCondLst>
                                  <p:childTnLst>
                                    <p:animMotion origin="layout" path="M 0.04622 0.04931 C 0.047 -0.00451 -0.09577 -0.02049 -0.09688 -0.07697 " pathEditMode="relative" rAng="0" ptsTypes="AA">
                                      <p:cBhvr>
                                        <p:cTn id="166" dur="1500" fill="hold"/>
                                        <p:tgtEl>
                                          <p:spTgt spid="32"/>
                                        </p:tgtEl>
                                        <p:attrNameLst>
                                          <p:attrName>ppt_x</p:attrName>
                                          <p:attrName>ppt_y</p:attrName>
                                        </p:attrNameLst>
                                      </p:cBhvr>
                                      <p:rCtr x="-7155" y="-6319"/>
                                    </p:animMotion>
                                  </p:childTnLst>
                                </p:cTn>
                              </p:par>
                              <p:par>
                                <p:cTn id="167" presetID="1" presetClass="entr" presetSubtype="0" fill="hold" grpId="0" nodeType="withEffect">
                                  <p:stCondLst>
                                    <p:cond delay="4000"/>
                                  </p:stCondLst>
                                  <p:childTnLst>
                                    <p:set>
                                      <p:cBhvr>
                                        <p:cTn id="168" dur="1" fill="hold">
                                          <p:stCondLst>
                                            <p:cond delay="0"/>
                                          </p:stCondLst>
                                        </p:cTn>
                                        <p:tgtEl>
                                          <p:spTgt spid="45"/>
                                        </p:tgtEl>
                                        <p:attrNameLst>
                                          <p:attrName>style.visibility</p:attrName>
                                        </p:attrNameLst>
                                      </p:cBhvr>
                                      <p:to>
                                        <p:strVal val="visible"/>
                                      </p:to>
                                    </p:set>
                                  </p:childTnLst>
                                </p:cTn>
                              </p:par>
                              <p:par>
                                <p:cTn id="169" presetID="37" presetClass="path" presetSubtype="0" repeatCount="indefinite" fill="hold" grpId="1" nodeType="withEffect">
                                  <p:stCondLst>
                                    <p:cond delay="4000"/>
                                  </p:stCondLst>
                                  <p:childTnLst>
                                    <p:animMotion origin="layout" path="M -0.0375 0.14167 C -0.03516 0.00371 0.10677 -0.1625 0.10722 -0.28136 " pathEditMode="relative" rAng="0" ptsTypes="AA">
                                      <p:cBhvr>
                                        <p:cTn id="170" dur="3500" fill="hold"/>
                                        <p:tgtEl>
                                          <p:spTgt spid="45"/>
                                        </p:tgtEl>
                                        <p:attrNameLst>
                                          <p:attrName>ppt_x</p:attrName>
                                          <p:attrName>ppt_y</p:attrName>
                                        </p:attrNameLst>
                                      </p:cBhvr>
                                      <p:rCtr x="7233" y="-21157"/>
                                    </p:animMotion>
                                  </p:childTnLst>
                                </p:cTn>
                              </p:par>
                              <p:par>
                                <p:cTn id="171" presetID="1" presetClass="entr" presetSubtype="0" fill="hold" grpId="0" nodeType="withEffect">
                                  <p:stCondLst>
                                    <p:cond delay="4050"/>
                                  </p:stCondLst>
                                  <p:childTnLst>
                                    <p:set>
                                      <p:cBhvr>
                                        <p:cTn id="172" dur="1" fill="hold">
                                          <p:stCondLst>
                                            <p:cond delay="0"/>
                                          </p:stCondLst>
                                        </p:cTn>
                                        <p:tgtEl>
                                          <p:spTgt spid="33"/>
                                        </p:tgtEl>
                                        <p:attrNameLst>
                                          <p:attrName>style.visibility</p:attrName>
                                        </p:attrNameLst>
                                      </p:cBhvr>
                                      <p:to>
                                        <p:strVal val="visible"/>
                                      </p:to>
                                    </p:set>
                                  </p:childTnLst>
                                </p:cTn>
                              </p:par>
                              <p:par>
                                <p:cTn id="173" presetID="37" presetClass="path" presetSubtype="0" repeatCount="indefinite" fill="hold" grpId="1" nodeType="withEffect">
                                  <p:stCondLst>
                                    <p:cond delay="4050"/>
                                  </p:stCondLst>
                                  <p:childTnLst>
                                    <p:animMotion origin="layout" path="M -0.13496 0.36088 C -0.13262 0.22292 0.00931 0.05672 0.00976 -0.06215 " pathEditMode="relative" rAng="0" ptsTypes="AA">
                                      <p:cBhvr>
                                        <p:cTn id="174" dur="3000" fill="hold"/>
                                        <p:tgtEl>
                                          <p:spTgt spid="33"/>
                                        </p:tgtEl>
                                        <p:attrNameLst>
                                          <p:attrName>ppt_x</p:attrName>
                                          <p:attrName>ppt_y</p:attrName>
                                        </p:attrNameLst>
                                      </p:cBhvr>
                                      <p:rCtr x="7233" y="-21157"/>
                                    </p:animMotion>
                                  </p:childTnLst>
                                </p:cTn>
                              </p:par>
                              <p:par>
                                <p:cTn id="175" presetID="1" presetClass="entr" presetSubtype="0" fill="hold" grpId="0" nodeType="withEffect">
                                  <p:stCondLst>
                                    <p:cond delay="4100"/>
                                  </p:stCondLst>
                                  <p:childTnLst>
                                    <p:set>
                                      <p:cBhvr>
                                        <p:cTn id="176" dur="1" fill="hold">
                                          <p:stCondLst>
                                            <p:cond delay="0"/>
                                          </p:stCondLst>
                                        </p:cTn>
                                        <p:tgtEl>
                                          <p:spTgt spid="44"/>
                                        </p:tgtEl>
                                        <p:attrNameLst>
                                          <p:attrName>style.visibility</p:attrName>
                                        </p:attrNameLst>
                                      </p:cBhvr>
                                      <p:to>
                                        <p:strVal val="visible"/>
                                      </p:to>
                                    </p:set>
                                  </p:childTnLst>
                                </p:cTn>
                              </p:par>
                              <p:par>
                                <p:cTn id="177" presetID="37" presetClass="path" presetSubtype="0" repeatCount="indefinite" fill="hold" grpId="1" nodeType="withEffect">
                                  <p:stCondLst>
                                    <p:cond delay="4100"/>
                                  </p:stCondLst>
                                  <p:childTnLst>
                                    <p:animMotion origin="layout" path="M -0.08522 0.1279 C -0.08295 0.01979 0.03034 0.02882 0.03066 -0.07778 " pathEditMode="relative" rAng="0" ptsTypes="AA">
                                      <p:cBhvr>
                                        <p:cTn id="178" dur="2500" fill="hold"/>
                                        <p:tgtEl>
                                          <p:spTgt spid="44"/>
                                        </p:tgtEl>
                                        <p:attrNameLst>
                                          <p:attrName>ppt_x</p:attrName>
                                          <p:attrName>ppt_y</p:attrName>
                                        </p:attrNameLst>
                                      </p:cBhvr>
                                      <p:rCtr x="5794" y="-10289"/>
                                    </p:animMotion>
                                  </p:childTnLst>
                                </p:cTn>
                              </p:par>
                              <p:par>
                                <p:cTn id="179" presetID="1" presetClass="entr" presetSubtype="0" fill="hold" grpId="0" nodeType="withEffect">
                                  <p:stCondLst>
                                    <p:cond delay="4150"/>
                                  </p:stCondLst>
                                  <p:childTnLst>
                                    <p:set>
                                      <p:cBhvr>
                                        <p:cTn id="180" dur="1" fill="hold">
                                          <p:stCondLst>
                                            <p:cond delay="0"/>
                                          </p:stCondLst>
                                        </p:cTn>
                                        <p:tgtEl>
                                          <p:spTgt spid="47"/>
                                        </p:tgtEl>
                                        <p:attrNameLst>
                                          <p:attrName>style.visibility</p:attrName>
                                        </p:attrNameLst>
                                      </p:cBhvr>
                                      <p:to>
                                        <p:strVal val="visible"/>
                                      </p:to>
                                    </p:set>
                                  </p:childTnLst>
                                </p:cTn>
                              </p:par>
                              <p:par>
                                <p:cTn id="181" presetID="37" presetClass="path" presetSubtype="0" repeatCount="indefinite" fill="hold" grpId="1" nodeType="withEffect">
                                  <p:stCondLst>
                                    <p:cond delay="4150"/>
                                  </p:stCondLst>
                                  <p:childTnLst>
                                    <p:animMotion origin="layout" path="M -0.05502 0.11354 C -0.05378 0.0081 0.08359 -0.03125 0.08411 -0.18334 " pathEditMode="relative" rAng="0" ptsTypes="AA">
                                      <p:cBhvr>
                                        <p:cTn id="182" dur="2500" fill="hold"/>
                                        <p:tgtEl>
                                          <p:spTgt spid="47"/>
                                        </p:tgtEl>
                                        <p:attrNameLst>
                                          <p:attrName>ppt_x</p:attrName>
                                          <p:attrName>ppt_y</p:attrName>
                                        </p:attrNameLst>
                                      </p:cBhvr>
                                      <p:rCtr x="6953" y="-14850"/>
                                    </p:animMotion>
                                  </p:childTnLst>
                                </p:cTn>
                              </p:par>
                              <p:par>
                                <p:cTn id="183" presetID="1" presetClass="entr" presetSubtype="0" fill="hold" grpId="0" nodeType="withEffect">
                                  <p:stCondLst>
                                    <p:cond delay="4000"/>
                                  </p:stCondLst>
                                  <p:childTnLst>
                                    <p:set>
                                      <p:cBhvr>
                                        <p:cTn id="184" dur="1" fill="hold">
                                          <p:stCondLst>
                                            <p:cond delay="0"/>
                                          </p:stCondLst>
                                        </p:cTn>
                                        <p:tgtEl>
                                          <p:spTgt spid="34"/>
                                        </p:tgtEl>
                                        <p:attrNameLst>
                                          <p:attrName>style.visibility</p:attrName>
                                        </p:attrNameLst>
                                      </p:cBhvr>
                                      <p:to>
                                        <p:strVal val="visible"/>
                                      </p:to>
                                    </p:set>
                                  </p:childTnLst>
                                </p:cTn>
                              </p:par>
                              <p:par>
                                <p:cTn id="185" presetID="37" presetClass="path" presetSubtype="0" repeatCount="indefinite" fill="hold" grpId="1" nodeType="withEffect">
                                  <p:stCondLst>
                                    <p:cond delay="4000"/>
                                  </p:stCondLst>
                                  <p:childTnLst>
                                    <p:animMotion origin="layout" path="M 0.1142 0.2213 C 0.11433 0.15069 -0.0791 -0.07651 -0.07923 -0.20822 " pathEditMode="relative" rAng="0" ptsTypes="AA">
                                      <p:cBhvr>
                                        <p:cTn id="186" dur="3000" fill="hold"/>
                                        <p:tgtEl>
                                          <p:spTgt spid="34"/>
                                        </p:tgtEl>
                                        <p:attrNameLst>
                                          <p:attrName>ppt_x</p:attrName>
                                          <p:attrName>ppt_y</p:attrName>
                                        </p:attrNameLst>
                                      </p:cBhvr>
                                      <p:rCtr x="-9674" y="-21481"/>
                                    </p:animMotion>
                                  </p:childTnLst>
                                </p:cTn>
                              </p:par>
                              <p:par>
                                <p:cTn id="187" presetID="1" presetClass="entr" presetSubtype="0" fill="hold" grpId="0" nodeType="withEffect">
                                  <p:stCondLst>
                                    <p:cond delay="4500"/>
                                  </p:stCondLst>
                                  <p:childTnLst>
                                    <p:set>
                                      <p:cBhvr>
                                        <p:cTn id="188" dur="1" fill="hold">
                                          <p:stCondLst>
                                            <p:cond delay="0"/>
                                          </p:stCondLst>
                                        </p:cTn>
                                        <p:tgtEl>
                                          <p:spTgt spid="29"/>
                                        </p:tgtEl>
                                        <p:attrNameLst>
                                          <p:attrName>style.visibility</p:attrName>
                                        </p:attrNameLst>
                                      </p:cBhvr>
                                      <p:to>
                                        <p:strVal val="visible"/>
                                      </p:to>
                                    </p:set>
                                  </p:childTnLst>
                                </p:cTn>
                              </p:par>
                              <p:par>
                                <p:cTn id="189" presetID="37" presetClass="path" presetSubtype="0" repeatCount="indefinite" fill="hold" grpId="1" nodeType="withEffect">
                                  <p:stCondLst>
                                    <p:cond delay="4500"/>
                                  </p:stCondLst>
                                  <p:childTnLst>
                                    <p:animMotion origin="layout" path="M 0.15625 0.30209 C 0.15638 0.23137 -0.03705 0.00405 -0.03718 -0.12743 " pathEditMode="relative" rAng="0" ptsTypes="AA">
                                      <p:cBhvr>
                                        <p:cTn id="190" dur="3000" fill="hold"/>
                                        <p:tgtEl>
                                          <p:spTgt spid="29"/>
                                        </p:tgtEl>
                                        <p:attrNameLst>
                                          <p:attrName>ppt_x</p:attrName>
                                          <p:attrName>ppt_y</p:attrName>
                                        </p:attrNameLst>
                                      </p:cBhvr>
                                      <p:rCtr x="-9674" y="-21481"/>
                                    </p:animMotion>
                                  </p:childTnLst>
                                </p:cTn>
                              </p:par>
                              <p:par>
                                <p:cTn id="191" presetID="1" presetClass="entr" presetSubtype="0" fill="hold" grpId="0" nodeType="withEffect">
                                  <p:stCondLst>
                                    <p:cond delay="4250"/>
                                  </p:stCondLst>
                                  <p:childTnLst>
                                    <p:set>
                                      <p:cBhvr>
                                        <p:cTn id="192" dur="1" fill="hold">
                                          <p:stCondLst>
                                            <p:cond delay="0"/>
                                          </p:stCondLst>
                                        </p:cTn>
                                        <p:tgtEl>
                                          <p:spTgt spid="49"/>
                                        </p:tgtEl>
                                        <p:attrNameLst>
                                          <p:attrName>style.visibility</p:attrName>
                                        </p:attrNameLst>
                                      </p:cBhvr>
                                      <p:to>
                                        <p:strVal val="visible"/>
                                      </p:to>
                                    </p:set>
                                  </p:childTnLst>
                                </p:cTn>
                              </p:par>
                              <p:par>
                                <p:cTn id="193" presetID="37" presetClass="path" presetSubtype="0" repeatCount="indefinite" fill="hold" grpId="1" nodeType="withEffect">
                                  <p:stCondLst>
                                    <p:cond delay="4250"/>
                                  </p:stCondLst>
                                  <p:childTnLst>
                                    <p:animMotion origin="layout" path="M -0.01166 0.04537 C -0.01152 -0.01261 0.07337 -0.11539 0.07285 -0.17766 " pathEditMode="relative" rAng="0" ptsTypes="AA">
                                      <p:cBhvr>
                                        <p:cTn id="194" dur="2000" fill="hold"/>
                                        <p:tgtEl>
                                          <p:spTgt spid="49"/>
                                        </p:tgtEl>
                                        <p:attrNameLst>
                                          <p:attrName>ppt_x</p:attrName>
                                          <p:attrName>ppt_y</p:attrName>
                                        </p:attrNameLst>
                                      </p:cBhvr>
                                      <p:rCtr x="4225" y="-11157"/>
                                    </p:animMotion>
                                  </p:childTnLst>
                                </p:cTn>
                              </p:par>
                              <p:par>
                                <p:cTn id="195" presetID="1" presetClass="entr" presetSubtype="0" fill="hold" grpId="0" nodeType="withEffect">
                                  <p:stCondLst>
                                    <p:cond delay="4300"/>
                                  </p:stCondLst>
                                  <p:childTnLst>
                                    <p:set>
                                      <p:cBhvr>
                                        <p:cTn id="196" dur="1" fill="hold">
                                          <p:stCondLst>
                                            <p:cond delay="0"/>
                                          </p:stCondLst>
                                        </p:cTn>
                                        <p:tgtEl>
                                          <p:spTgt spid="40"/>
                                        </p:tgtEl>
                                        <p:attrNameLst>
                                          <p:attrName>style.visibility</p:attrName>
                                        </p:attrNameLst>
                                      </p:cBhvr>
                                      <p:to>
                                        <p:strVal val="visible"/>
                                      </p:to>
                                    </p:set>
                                  </p:childTnLst>
                                </p:cTn>
                              </p:par>
                              <p:par>
                                <p:cTn id="197" presetID="37" presetClass="path" presetSubtype="0" repeatCount="indefinite" fill="hold" grpId="1" nodeType="withEffect">
                                  <p:stCondLst>
                                    <p:cond delay="4300"/>
                                  </p:stCondLst>
                                  <p:childTnLst>
                                    <p:animMotion origin="layout" path="M 0.00286 0.0162 C 0.00306 -0.04236 -0.12579 -0.14896 -0.12481 -0.21042 " pathEditMode="relative" rAng="0" ptsTypes="AA">
                                      <p:cBhvr>
                                        <p:cTn id="198" dur="2000" fill="hold"/>
                                        <p:tgtEl>
                                          <p:spTgt spid="40"/>
                                        </p:tgtEl>
                                        <p:attrNameLst>
                                          <p:attrName>ppt_x</p:attrName>
                                          <p:attrName>ppt_y</p:attrName>
                                        </p:attrNameLst>
                                      </p:cBhvr>
                                      <p:rCtr x="-6387" y="-11331"/>
                                    </p:animMotion>
                                  </p:childTnLst>
                                </p:cTn>
                              </p:par>
                              <p:par>
                                <p:cTn id="199" presetID="1" presetClass="entr" presetSubtype="0" fill="hold" grpId="0" nodeType="withEffect">
                                  <p:stCondLst>
                                    <p:cond delay="4800"/>
                                  </p:stCondLst>
                                  <p:childTnLst>
                                    <p:set>
                                      <p:cBhvr>
                                        <p:cTn id="200" dur="1" fill="hold">
                                          <p:stCondLst>
                                            <p:cond delay="0"/>
                                          </p:stCondLst>
                                        </p:cTn>
                                        <p:tgtEl>
                                          <p:spTgt spid="39"/>
                                        </p:tgtEl>
                                        <p:attrNameLst>
                                          <p:attrName>style.visibility</p:attrName>
                                        </p:attrNameLst>
                                      </p:cBhvr>
                                      <p:to>
                                        <p:strVal val="visible"/>
                                      </p:to>
                                    </p:set>
                                  </p:childTnLst>
                                </p:cTn>
                              </p:par>
                              <p:par>
                                <p:cTn id="201" presetID="37" presetClass="path" presetSubtype="0" repeatCount="indefinite" fill="hold" grpId="1" nodeType="withEffect">
                                  <p:stCondLst>
                                    <p:cond delay="4800"/>
                                  </p:stCondLst>
                                  <p:childTnLst>
                                    <p:animMotion origin="layout" path="M 0.06536 0.11354 C 0.06556 0.05498 -0.06329 -0.05162 -0.06231 -0.11308 " pathEditMode="relative" rAng="0" ptsTypes="AA">
                                      <p:cBhvr>
                                        <p:cTn id="202" dur="2000" fill="hold"/>
                                        <p:tgtEl>
                                          <p:spTgt spid="39"/>
                                        </p:tgtEl>
                                        <p:attrNameLst>
                                          <p:attrName>ppt_x</p:attrName>
                                          <p:attrName>ppt_y</p:attrName>
                                        </p:attrNameLst>
                                      </p:cBhvr>
                                      <p:rCtr x="-6387" y="-11331"/>
                                    </p:animMotion>
                                  </p:childTnLst>
                                </p:cTn>
                              </p:par>
                              <p:par>
                                <p:cTn id="203" presetID="1" presetClass="entr" presetSubtype="0" fill="hold" grpId="0" nodeType="withEffect">
                                  <p:stCondLst>
                                    <p:cond delay="4350"/>
                                  </p:stCondLst>
                                  <p:childTnLst>
                                    <p:set>
                                      <p:cBhvr>
                                        <p:cTn id="204" dur="1" fill="hold">
                                          <p:stCondLst>
                                            <p:cond delay="0"/>
                                          </p:stCondLst>
                                        </p:cTn>
                                        <p:tgtEl>
                                          <p:spTgt spid="30"/>
                                        </p:tgtEl>
                                        <p:attrNameLst>
                                          <p:attrName>style.visibility</p:attrName>
                                        </p:attrNameLst>
                                      </p:cBhvr>
                                      <p:to>
                                        <p:strVal val="visible"/>
                                      </p:to>
                                    </p:set>
                                  </p:childTnLst>
                                </p:cTn>
                              </p:par>
                              <p:par>
                                <p:cTn id="205" presetID="37" presetClass="path" presetSubtype="0" repeatCount="indefinite" fill="hold" grpId="1" nodeType="withEffect">
                                  <p:stCondLst>
                                    <p:cond delay="4350"/>
                                  </p:stCondLst>
                                  <p:childTnLst>
                                    <p:animMotion origin="layout" path="M -0.08489 0.15625 C -0.08424 0.10081 0.02546 -0.00926 0.02572 -0.06539 " pathEditMode="relative" rAng="0" ptsTypes="AA">
                                      <p:cBhvr>
                                        <p:cTn id="206" dur="2500" fill="hold"/>
                                        <p:tgtEl>
                                          <p:spTgt spid="30"/>
                                        </p:tgtEl>
                                        <p:attrNameLst>
                                          <p:attrName>ppt_x</p:attrName>
                                          <p:attrName>ppt_y</p:attrName>
                                        </p:attrNameLst>
                                      </p:cBhvr>
                                      <p:rCtr x="5527" y="-11088"/>
                                    </p:animMotion>
                                  </p:childTnLst>
                                </p:cTn>
                              </p:par>
                              <p:par>
                                <p:cTn id="207" presetID="1" presetClass="entr" presetSubtype="0" fill="hold" grpId="0" nodeType="withEffect">
                                  <p:stCondLst>
                                    <p:cond delay="4400"/>
                                  </p:stCondLst>
                                  <p:childTnLst>
                                    <p:set>
                                      <p:cBhvr>
                                        <p:cTn id="208" dur="1" fill="hold">
                                          <p:stCondLst>
                                            <p:cond delay="0"/>
                                          </p:stCondLst>
                                        </p:cTn>
                                        <p:tgtEl>
                                          <p:spTgt spid="38"/>
                                        </p:tgtEl>
                                        <p:attrNameLst>
                                          <p:attrName>style.visibility</p:attrName>
                                        </p:attrNameLst>
                                      </p:cBhvr>
                                      <p:to>
                                        <p:strVal val="visible"/>
                                      </p:to>
                                    </p:set>
                                  </p:childTnLst>
                                </p:cTn>
                              </p:par>
                              <p:par>
                                <p:cTn id="209" presetID="37" presetClass="path" presetSubtype="0" repeatCount="indefinite" fill="hold" grpId="1" nodeType="withEffect">
                                  <p:stCondLst>
                                    <p:cond delay="4400"/>
                                  </p:stCondLst>
                                  <p:childTnLst>
                                    <p:animMotion origin="layout" path="M 0.08802 0.20764 C 0.08724 0.14433 -0.00358 0.03866 -0.00345 -0.02071 " pathEditMode="relative" rAng="0" ptsTypes="AA">
                                      <p:cBhvr>
                                        <p:cTn id="210" dur="2000" fill="hold"/>
                                        <p:tgtEl>
                                          <p:spTgt spid="38"/>
                                        </p:tgtEl>
                                        <p:attrNameLst>
                                          <p:attrName>ppt_x</p:attrName>
                                          <p:attrName>ppt_y</p:attrName>
                                        </p:attrNameLst>
                                      </p:cBhvr>
                                      <p:rCtr x="-4577" y="-11424"/>
                                    </p:animMotion>
                                  </p:childTnLst>
                                </p:cTn>
                              </p:par>
                              <p:par>
                                <p:cTn id="211" presetID="1" presetClass="entr" presetSubtype="0" fill="hold" grpId="0" nodeType="withEffect">
                                  <p:stCondLst>
                                    <p:cond delay="4900"/>
                                  </p:stCondLst>
                                  <p:childTnLst>
                                    <p:set>
                                      <p:cBhvr>
                                        <p:cTn id="212" dur="1" fill="hold">
                                          <p:stCondLst>
                                            <p:cond delay="0"/>
                                          </p:stCondLst>
                                        </p:cTn>
                                        <p:tgtEl>
                                          <p:spTgt spid="41"/>
                                        </p:tgtEl>
                                        <p:attrNameLst>
                                          <p:attrName>style.visibility</p:attrName>
                                        </p:attrNameLst>
                                      </p:cBhvr>
                                      <p:to>
                                        <p:strVal val="visible"/>
                                      </p:to>
                                    </p:set>
                                  </p:childTnLst>
                                </p:cTn>
                              </p:par>
                              <p:par>
                                <p:cTn id="213" presetID="37" presetClass="path" presetSubtype="0" repeatCount="indefinite" fill="hold" grpId="1" nodeType="withEffect">
                                  <p:stCondLst>
                                    <p:cond delay="4900"/>
                                  </p:stCondLst>
                                  <p:childTnLst>
                                    <p:animMotion origin="layout" path="M 0.03672 0.09884 C 0.03594 0.03553 -0.05488 -0.07014 -0.05475 -0.12952 " pathEditMode="relative" rAng="0" ptsTypes="AA">
                                      <p:cBhvr>
                                        <p:cTn id="214" dur="2000" fill="hold"/>
                                        <p:tgtEl>
                                          <p:spTgt spid="41"/>
                                        </p:tgtEl>
                                        <p:attrNameLst>
                                          <p:attrName>ppt_x</p:attrName>
                                          <p:attrName>ppt_y</p:attrName>
                                        </p:attrNameLst>
                                      </p:cBhvr>
                                      <p:rCtr x="-4577" y="-11424"/>
                                    </p:animMotion>
                                  </p:childTnLst>
                                </p:cTn>
                              </p:par>
                              <p:par>
                                <p:cTn id="215" presetID="1" presetClass="entr" presetSubtype="0" fill="hold" grpId="0" nodeType="withEffect">
                                  <p:stCondLst>
                                    <p:cond delay="4450"/>
                                  </p:stCondLst>
                                  <p:childTnLst>
                                    <p:set>
                                      <p:cBhvr>
                                        <p:cTn id="216" dur="1" fill="hold">
                                          <p:stCondLst>
                                            <p:cond delay="0"/>
                                          </p:stCondLst>
                                        </p:cTn>
                                        <p:tgtEl>
                                          <p:spTgt spid="42"/>
                                        </p:tgtEl>
                                        <p:attrNameLst>
                                          <p:attrName>style.visibility</p:attrName>
                                        </p:attrNameLst>
                                      </p:cBhvr>
                                      <p:to>
                                        <p:strVal val="visible"/>
                                      </p:to>
                                    </p:set>
                                  </p:childTnLst>
                                </p:cTn>
                              </p:par>
                              <p:par>
                                <p:cTn id="217" presetID="37" presetClass="path" presetSubtype="0" repeatCount="indefinite" fill="hold" grpId="1" nodeType="withEffect">
                                  <p:stCondLst>
                                    <p:cond delay="4450"/>
                                  </p:stCondLst>
                                  <p:childTnLst>
                                    <p:animMotion origin="layout" path="M -0.10261 0.17454 C -0.103 0.11435 0.01992 0.00231 0.02116 -0.05232 " pathEditMode="relative" rAng="0" ptsTypes="AA">
                                      <p:cBhvr>
                                        <p:cTn id="218" dur="2500" fill="hold"/>
                                        <p:tgtEl>
                                          <p:spTgt spid="42"/>
                                        </p:tgtEl>
                                        <p:attrNameLst>
                                          <p:attrName>ppt_x</p:attrName>
                                          <p:attrName>ppt_y</p:attrName>
                                        </p:attrNameLst>
                                      </p:cBhvr>
                                      <p:rCtr x="6185" y="-11343"/>
                                    </p:animMotion>
                                  </p:childTnLst>
                                </p:cTn>
                              </p:par>
                              <p:par>
                                <p:cTn id="219" presetID="1" presetClass="entr" presetSubtype="0" fill="hold" grpId="0" nodeType="withEffect">
                                  <p:stCondLst>
                                    <p:cond delay="4500"/>
                                  </p:stCondLst>
                                  <p:childTnLst>
                                    <p:set>
                                      <p:cBhvr>
                                        <p:cTn id="220" dur="1" fill="hold">
                                          <p:stCondLst>
                                            <p:cond delay="0"/>
                                          </p:stCondLst>
                                        </p:cTn>
                                        <p:tgtEl>
                                          <p:spTgt spid="52"/>
                                        </p:tgtEl>
                                        <p:attrNameLst>
                                          <p:attrName>style.visibility</p:attrName>
                                        </p:attrNameLst>
                                      </p:cBhvr>
                                      <p:to>
                                        <p:strVal val="visible"/>
                                      </p:to>
                                    </p:set>
                                  </p:childTnLst>
                                </p:cTn>
                              </p:par>
                              <p:par>
                                <p:cTn id="221" presetID="37" presetClass="path" presetSubtype="0" repeatCount="indefinite" fill="hold" grpId="1" nodeType="withEffect">
                                  <p:stCondLst>
                                    <p:cond delay="4500"/>
                                  </p:stCondLst>
                                  <p:childTnLst>
                                    <p:animMotion origin="layout" path="M 0.03737 0.20521 C 0.03789 0.14016 6.1875E-5 0.03715 -0.00261 -0.02673 " pathEditMode="relative" rAng="0" ptsTypes="AA">
                                      <p:cBhvr>
                                        <p:cTn id="222" dur="2000" fill="hold"/>
                                        <p:tgtEl>
                                          <p:spTgt spid="52"/>
                                        </p:tgtEl>
                                        <p:attrNameLst>
                                          <p:attrName>ppt_x</p:attrName>
                                          <p:attrName>ppt_y</p:attrName>
                                        </p:attrNameLst>
                                      </p:cBhvr>
                                      <p:rCtr x="-1999" y="-11597"/>
                                    </p:animMotion>
                                  </p:childTnLst>
                                </p:cTn>
                              </p:par>
                              <p:par>
                                <p:cTn id="223" presetID="10" presetClass="entr" presetSubtype="0" fill="hold" grpId="0" nodeType="withEffect">
                                  <p:stCondLst>
                                    <p:cond delay="100"/>
                                  </p:stCondLst>
                                  <p:childTnLst>
                                    <p:set>
                                      <p:cBhvr>
                                        <p:cTn id="224" dur="1" fill="hold">
                                          <p:stCondLst>
                                            <p:cond delay="0"/>
                                          </p:stCondLst>
                                        </p:cTn>
                                        <p:tgtEl>
                                          <p:spTgt spid="83"/>
                                        </p:tgtEl>
                                        <p:attrNameLst>
                                          <p:attrName>style.visibility</p:attrName>
                                        </p:attrNameLst>
                                      </p:cBhvr>
                                      <p:to>
                                        <p:strVal val="visible"/>
                                      </p:to>
                                    </p:set>
                                    <p:animEffect transition="in" filter="fade">
                                      <p:cBhvr>
                                        <p:cTn id="225" dur="500"/>
                                        <p:tgtEl>
                                          <p:spTgt spid="83"/>
                                        </p:tgtEl>
                                      </p:cBhvr>
                                    </p:animEffect>
                                  </p:childTnLst>
                                </p:cTn>
                              </p:par>
                              <p:par>
                                <p:cTn id="226" presetID="42" presetClass="path" presetSubtype="0" decel="100000" fill="hold" grpId="1" nodeType="withEffect">
                                  <p:stCondLst>
                                    <p:cond delay="100"/>
                                  </p:stCondLst>
                                  <p:childTnLst>
                                    <p:animMotion origin="layout" path="M 3.33333E-6 -1.2963E-6 L 3.33333E-6 0.03542 " pathEditMode="relative" rAng="0" ptsTypes="AA">
                                      <p:cBhvr>
                                        <p:cTn id="227" dur="700" spd="-100000" fill="hold"/>
                                        <p:tgtEl>
                                          <p:spTgt spid="83"/>
                                        </p:tgtEl>
                                        <p:attrNameLst>
                                          <p:attrName>ppt_x</p:attrName>
                                          <p:attrName>ppt_y</p:attrName>
                                        </p:attrNameLst>
                                      </p:cBhvr>
                                      <p:rCtr x="0" y="17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101" grpId="0" animBg="1"/>
      <p:bldP spid="101" grpId="1" animBg="1"/>
      <p:bldP spid="102" grpId="0" animBg="1"/>
      <p:bldP spid="102" grpId="1" animBg="1"/>
      <p:bldP spid="103" grpId="0" animBg="1"/>
      <p:bldP spid="103" grpId="1" animBg="1"/>
      <p:bldP spid="104" grpId="0" animBg="1"/>
      <p:bldP spid="104" grpId="1" animBg="1"/>
      <p:bldP spid="78" grpId="0" animBg="1"/>
      <p:bldP spid="78" grpId="1" animBg="1"/>
      <p:bldP spid="79" grpId="0"/>
      <p:bldP spid="79" grpId="1"/>
      <p:bldP spid="80" grpId="0" animBg="1"/>
      <p:bldP spid="80" grpId="1" animBg="1"/>
      <p:bldP spid="81" grpId="0"/>
      <p:bldP spid="81" grpId="1"/>
      <p:bldP spid="82" grpId="0" animBg="1"/>
      <p:bldP spid="82" grpId="1" animBg="1"/>
      <p:bldP spid="83" grpId="0"/>
      <p:bldP spid="83" grpId="1"/>
      <p:bldP spid="28" grpId="0" animBg="1"/>
      <p:bldP spid="28"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B63A5-74A2-37EB-2503-0F72DE9EECD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D59E2D44-5A9B-2E6B-432B-EA7F5F831816}"/>
              </a:ext>
            </a:extLst>
          </p:cNvPr>
          <p:cNvPicPr>
            <a:picLocks noChangeAspect="1"/>
          </p:cNvPicPr>
          <p:nvPr/>
        </p:nvPicPr>
        <p:blipFill>
          <a:blip r:embed="rId2"/>
          <a:stretch>
            <a:fillRect/>
          </a:stretch>
        </p:blipFill>
        <p:spPr>
          <a:xfrm>
            <a:off x="685801" y="1422942"/>
            <a:ext cx="7772400" cy="5340174"/>
          </a:xfrm>
          <a:prstGeom prst="rect">
            <a:avLst/>
          </a:prstGeom>
        </p:spPr>
      </p:pic>
      <p:sp>
        <p:nvSpPr>
          <p:cNvPr id="3" name="TextBox 2">
            <a:extLst>
              <a:ext uri="{FF2B5EF4-FFF2-40B4-BE49-F238E27FC236}">
                <a16:creationId xmlns:a16="http://schemas.microsoft.com/office/drawing/2014/main" id="{CFFF5F64-50DC-A9FA-718C-4FA79EF48CBB}"/>
              </a:ext>
            </a:extLst>
          </p:cNvPr>
          <p:cNvSpPr txBox="1"/>
          <p:nvPr/>
        </p:nvSpPr>
        <p:spPr>
          <a:xfrm>
            <a:off x="685801" y="648493"/>
            <a:ext cx="6005105" cy="369332"/>
          </a:xfrm>
          <a:prstGeom prst="rect">
            <a:avLst/>
          </a:prstGeom>
          <a:noFill/>
        </p:spPr>
        <p:txBody>
          <a:bodyPr wrap="none" rtlCol="0">
            <a:spAutoFit/>
          </a:bodyPr>
          <a:lstStyle/>
          <a:p>
            <a:r>
              <a:rPr lang="en-US" b="1"/>
              <a:t>Step 5 (optional) – Add any (required) tags on the </a:t>
            </a:r>
            <a:r>
              <a:rPr lang="en-US" b="1">
                <a:solidFill>
                  <a:schemeClr val="accent1">
                    <a:lumMod val="50000"/>
                  </a:schemeClr>
                </a:solidFill>
              </a:rPr>
              <a:t>Tags</a:t>
            </a:r>
            <a:r>
              <a:rPr lang="en-US" b="1"/>
              <a:t> tab</a:t>
            </a:r>
          </a:p>
        </p:txBody>
      </p:sp>
      <p:sp>
        <p:nvSpPr>
          <p:cNvPr id="5" name="TextBox 4">
            <a:extLst>
              <a:ext uri="{FF2B5EF4-FFF2-40B4-BE49-F238E27FC236}">
                <a16:creationId xmlns:a16="http://schemas.microsoft.com/office/drawing/2014/main" id="{90666CC2-5F2E-131A-8F35-857544081B5D}"/>
              </a:ext>
            </a:extLst>
          </p:cNvPr>
          <p:cNvSpPr txBox="1"/>
          <p:nvPr/>
        </p:nvSpPr>
        <p:spPr>
          <a:xfrm>
            <a:off x="6823939" y="2573931"/>
            <a:ext cx="3721212" cy="646331"/>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a:t>Add any (required) tags for your </a:t>
            </a:r>
            <a:br>
              <a:rPr lang="en-US"/>
            </a:br>
            <a:r>
              <a:rPr lang="en-US"/>
              <a:t>Purview account</a:t>
            </a:r>
          </a:p>
        </p:txBody>
      </p:sp>
      <p:cxnSp>
        <p:nvCxnSpPr>
          <p:cNvPr id="6" name="Straight Arrow Connector 5">
            <a:extLst>
              <a:ext uri="{FF2B5EF4-FFF2-40B4-BE49-F238E27FC236}">
                <a16:creationId xmlns:a16="http://schemas.microsoft.com/office/drawing/2014/main" id="{2FCA71A1-6EBB-8CE2-4B7F-17708D0F6E6C}"/>
              </a:ext>
            </a:extLst>
          </p:cNvPr>
          <p:cNvCxnSpPr>
            <a:cxnSpLocks/>
          </p:cNvCxnSpPr>
          <p:nvPr/>
        </p:nvCxnSpPr>
        <p:spPr>
          <a:xfrm flipH="1">
            <a:off x="1426029" y="2786743"/>
            <a:ext cx="5397910" cy="642257"/>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09ED784-B2FE-AA8E-274A-A583882E0B8B}"/>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3519389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A3EE5-EC7F-C2E2-4B2B-1B4C525B2B9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3F7835F-190F-D5D6-BB58-AD79FD6EC7C3}"/>
              </a:ext>
            </a:extLst>
          </p:cNvPr>
          <p:cNvPicPr>
            <a:picLocks noChangeAspect="1"/>
          </p:cNvPicPr>
          <p:nvPr/>
        </p:nvPicPr>
        <p:blipFill>
          <a:blip r:embed="rId2"/>
          <a:stretch>
            <a:fillRect/>
          </a:stretch>
        </p:blipFill>
        <p:spPr>
          <a:xfrm>
            <a:off x="522514" y="991674"/>
            <a:ext cx="7772400" cy="5340174"/>
          </a:xfrm>
          <a:prstGeom prst="rect">
            <a:avLst/>
          </a:prstGeom>
        </p:spPr>
      </p:pic>
      <p:sp>
        <p:nvSpPr>
          <p:cNvPr id="3" name="TextBox 2">
            <a:extLst>
              <a:ext uri="{FF2B5EF4-FFF2-40B4-BE49-F238E27FC236}">
                <a16:creationId xmlns:a16="http://schemas.microsoft.com/office/drawing/2014/main" id="{DBF01979-36D1-EA37-8EC8-3F42C01F9AFB}"/>
              </a:ext>
            </a:extLst>
          </p:cNvPr>
          <p:cNvSpPr txBox="1"/>
          <p:nvPr/>
        </p:nvSpPr>
        <p:spPr>
          <a:xfrm>
            <a:off x="522514" y="566595"/>
            <a:ext cx="4090094" cy="369332"/>
          </a:xfrm>
          <a:prstGeom prst="rect">
            <a:avLst/>
          </a:prstGeom>
          <a:noFill/>
        </p:spPr>
        <p:txBody>
          <a:bodyPr wrap="none" rtlCol="0">
            <a:spAutoFit/>
          </a:bodyPr>
          <a:lstStyle/>
          <a:p>
            <a:r>
              <a:rPr lang="en-US" b="1"/>
              <a:t>Step 6 – Check the </a:t>
            </a:r>
            <a:r>
              <a:rPr lang="en-US" b="1">
                <a:solidFill>
                  <a:schemeClr val="accent1">
                    <a:lumMod val="50000"/>
                  </a:schemeClr>
                </a:solidFill>
              </a:rPr>
              <a:t>Review + Create </a:t>
            </a:r>
            <a:r>
              <a:rPr lang="en-US" b="1"/>
              <a:t>tab</a:t>
            </a:r>
          </a:p>
        </p:txBody>
      </p:sp>
      <p:sp>
        <p:nvSpPr>
          <p:cNvPr id="5" name="TextBox 4">
            <a:extLst>
              <a:ext uri="{FF2B5EF4-FFF2-40B4-BE49-F238E27FC236}">
                <a16:creationId xmlns:a16="http://schemas.microsoft.com/office/drawing/2014/main" id="{8FBDBC0C-75F8-482E-58A8-77ED594B63C7}"/>
              </a:ext>
            </a:extLst>
          </p:cNvPr>
          <p:cNvSpPr txBox="1"/>
          <p:nvPr/>
        </p:nvSpPr>
        <p:spPr>
          <a:xfrm>
            <a:off x="6823939" y="2573931"/>
            <a:ext cx="3908506" cy="923330"/>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a:t>If things are in order press </a:t>
            </a:r>
            <a:r>
              <a:rPr lang="en-US" b="1">
                <a:solidFill>
                  <a:schemeClr val="accent1">
                    <a:lumMod val="50000"/>
                  </a:schemeClr>
                </a:solidFill>
              </a:rPr>
              <a:t>Create</a:t>
            </a:r>
            <a:r>
              <a:rPr lang="en-US" b="1">
                <a:solidFill>
                  <a:schemeClr val="bg1"/>
                </a:solidFill>
              </a:rPr>
              <a:t> </a:t>
            </a:r>
            <a:br>
              <a:rPr lang="en-US"/>
            </a:br>
            <a:r>
              <a:rPr lang="en-US"/>
              <a:t>otherwise go back on the tabs and</a:t>
            </a:r>
            <a:br>
              <a:rPr lang="en-US"/>
            </a:br>
            <a:r>
              <a:rPr lang="en-US"/>
              <a:t>change accordingly</a:t>
            </a:r>
          </a:p>
        </p:txBody>
      </p:sp>
      <p:cxnSp>
        <p:nvCxnSpPr>
          <p:cNvPr id="6" name="Straight Arrow Connector 5">
            <a:extLst>
              <a:ext uri="{FF2B5EF4-FFF2-40B4-BE49-F238E27FC236}">
                <a16:creationId xmlns:a16="http://schemas.microsoft.com/office/drawing/2014/main" id="{5BC1EB38-35FF-46DD-29B1-E22EBE3BDA54}"/>
              </a:ext>
            </a:extLst>
          </p:cNvPr>
          <p:cNvCxnSpPr>
            <a:cxnSpLocks/>
          </p:cNvCxnSpPr>
          <p:nvPr/>
        </p:nvCxnSpPr>
        <p:spPr>
          <a:xfrm flipH="1">
            <a:off x="1099595" y="2786743"/>
            <a:ext cx="5724344" cy="3394138"/>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67A5B60-FED1-5BBD-23D6-8B5C6FF36322}"/>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1184789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5FB9CEB-B7E5-016E-0CC4-3B04A571C79F}"/>
              </a:ext>
            </a:extLst>
          </p:cNvPr>
          <p:cNvSpPr txBox="1"/>
          <p:nvPr/>
        </p:nvSpPr>
        <p:spPr>
          <a:xfrm>
            <a:off x="734518" y="734518"/>
            <a:ext cx="3273397" cy="369332"/>
          </a:xfrm>
          <a:prstGeom prst="rect">
            <a:avLst/>
          </a:prstGeom>
          <a:noFill/>
        </p:spPr>
        <p:txBody>
          <a:bodyPr wrap="none" rtlCol="0">
            <a:spAutoFit/>
          </a:bodyPr>
          <a:lstStyle/>
          <a:p>
            <a:r>
              <a:rPr lang="en-US" b="1"/>
              <a:t>Step 7 – After installation tasks </a:t>
            </a:r>
          </a:p>
        </p:txBody>
      </p:sp>
      <p:sp>
        <p:nvSpPr>
          <p:cNvPr id="3" name="TextBox 2">
            <a:extLst>
              <a:ext uri="{FF2B5EF4-FFF2-40B4-BE49-F238E27FC236}">
                <a16:creationId xmlns:a16="http://schemas.microsoft.com/office/drawing/2014/main" id="{56656020-75B3-045D-4759-3C54A9FAD5A5}"/>
              </a:ext>
            </a:extLst>
          </p:cNvPr>
          <p:cNvSpPr txBox="1"/>
          <p:nvPr/>
        </p:nvSpPr>
        <p:spPr>
          <a:xfrm>
            <a:off x="734518" y="1349114"/>
            <a:ext cx="7488973" cy="1754326"/>
          </a:xfrm>
          <a:prstGeom prst="rect">
            <a:avLst/>
          </a:prstGeom>
          <a:noFill/>
        </p:spPr>
        <p:txBody>
          <a:bodyPr wrap="none" rtlCol="0">
            <a:spAutoFit/>
          </a:bodyPr>
          <a:lstStyle/>
          <a:p>
            <a:r>
              <a:rPr lang="en-US"/>
              <a:t>If the person who created the Purview instance is </a:t>
            </a:r>
            <a:r>
              <a:rPr lang="en-US" b="1">
                <a:solidFill>
                  <a:schemeClr val="accent1">
                    <a:lumMod val="50000"/>
                  </a:schemeClr>
                </a:solidFill>
              </a:rPr>
              <a:t>NOT</a:t>
            </a:r>
            <a:r>
              <a:rPr lang="en-US"/>
              <a:t> to be</a:t>
            </a:r>
            <a:br>
              <a:rPr lang="en-US"/>
            </a:br>
            <a:r>
              <a:rPr lang="en-US"/>
              <a:t>the owner of the Purview content/process, you need to change</a:t>
            </a:r>
            <a:br>
              <a:rPr lang="en-US"/>
            </a:br>
            <a:r>
              <a:rPr lang="en-US"/>
              <a:t>the ownership in the Purview Portal.</a:t>
            </a:r>
          </a:p>
          <a:p>
            <a:endParaRPr lang="en-US"/>
          </a:p>
          <a:p>
            <a:r>
              <a:rPr lang="en-US"/>
              <a:t>Step 7a – login into the </a:t>
            </a:r>
            <a:r>
              <a:rPr lang="en-US" b="1">
                <a:solidFill>
                  <a:schemeClr val="accent1">
                    <a:lumMod val="50000"/>
                  </a:schemeClr>
                </a:solidFill>
              </a:rPr>
              <a:t>Purview Portal</a:t>
            </a:r>
            <a:r>
              <a:rPr lang="en-US"/>
              <a:t> with the login of</a:t>
            </a:r>
            <a:br>
              <a:rPr lang="en-US"/>
            </a:br>
            <a:r>
              <a:rPr lang="en-US"/>
              <a:t>the user who created the Purview Instance. And navigate to the </a:t>
            </a:r>
            <a:r>
              <a:rPr lang="en-US" b="1">
                <a:solidFill>
                  <a:schemeClr val="accent1">
                    <a:lumMod val="50000"/>
                  </a:schemeClr>
                </a:solidFill>
              </a:rPr>
              <a:t>Data Map</a:t>
            </a:r>
          </a:p>
        </p:txBody>
      </p:sp>
      <p:pic>
        <p:nvPicPr>
          <p:cNvPr id="4" name="Picture 3">
            <a:extLst>
              <a:ext uri="{FF2B5EF4-FFF2-40B4-BE49-F238E27FC236}">
                <a16:creationId xmlns:a16="http://schemas.microsoft.com/office/drawing/2014/main" id="{6BBCC3D3-63B4-D9DF-D99B-3918BB1323AB}"/>
              </a:ext>
            </a:extLst>
          </p:cNvPr>
          <p:cNvPicPr>
            <a:picLocks noChangeAspect="1"/>
          </p:cNvPicPr>
          <p:nvPr/>
        </p:nvPicPr>
        <p:blipFill>
          <a:blip r:embed="rId2"/>
          <a:stretch>
            <a:fillRect/>
          </a:stretch>
        </p:blipFill>
        <p:spPr>
          <a:xfrm>
            <a:off x="1096024" y="3231539"/>
            <a:ext cx="5994324" cy="3583877"/>
          </a:xfrm>
          <a:prstGeom prst="rect">
            <a:avLst/>
          </a:prstGeom>
        </p:spPr>
      </p:pic>
      <p:sp>
        <p:nvSpPr>
          <p:cNvPr id="5" name="Oval 4">
            <a:extLst>
              <a:ext uri="{FF2B5EF4-FFF2-40B4-BE49-F238E27FC236}">
                <a16:creationId xmlns:a16="http://schemas.microsoft.com/office/drawing/2014/main" id="{693F9CB5-320F-BD5D-B102-19B56D32986F}"/>
              </a:ext>
            </a:extLst>
          </p:cNvPr>
          <p:cNvSpPr/>
          <p:nvPr/>
        </p:nvSpPr>
        <p:spPr>
          <a:xfrm>
            <a:off x="2983043" y="5396459"/>
            <a:ext cx="1319134" cy="854439"/>
          </a:xfrm>
          <a:prstGeom prst="ellipse">
            <a:avLst/>
          </a:prstGeom>
          <a:noFill/>
          <a:ln w="254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CC1C31BE-AF98-8AF5-7618-BAAB17F48163}"/>
              </a:ext>
            </a:extLst>
          </p:cNvPr>
          <p:cNvSpPr txBox="1"/>
          <p:nvPr/>
        </p:nvSpPr>
        <p:spPr>
          <a:xfrm>
            <a:off x="106100" y="6331848"/>
            <a:ext cx="1410184" cy="369332"/>
          </a:xfrm>
          <a:prstGeom prst="rect">
            <a:avLst/>
          </a:prstGeom>
          <a:solidFill>
            <a:srgbClr val="FFFDF9"/>
          </a:solid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2033196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CF36D-5D37-BB91-27B8-EECF162E4D6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FAA53D3E-4B39-F830-1BEB-4462B3E7A111}"/>
              </a:ext>
            </a:extLst>
          </p:cNvPr>
          <p:cNvPicPr>
            <a:picLocks noChangeAspect="1"/>
          </p:cNvPicPr>
          <p:nvPr/>
        </p:nvPicPr>
        <p:blipFill>
          <a:blip r:embed="rId2"/>
          <a:stretch>
            <a:fillRect/>
          </a:stretch>
        </p:blipFill>
        <p:spPr>
          <a:xfrm>
            <a:off x="231098" y="1713114"/>
            <a:ext cx="7772400" cy="4229273"/>
          </a:xfrm>
          <a:prstGeom prst="rect">
            <a:avLst/>
          </a:prstGeom>
        </p:spPr>
      </p:pic>
      <p:sp>
        <p:nvSpPr>
          <p:cNvPr id="2" name="TextBox 1">
            <a:extLst>
              <a:ext uri="{FF2B5EF4-FFF2-40B4-BE49-F238E27FC236}">
                <a16:creationId xmlns:a16="http://schemas.microsoft.com/office/drawing/2014/main" id="{56B7B94B-7B4C-D767-7455-F08B8C88E2E2}"/>
              </a:ext>
            </a:extLst>
          </p:cNvPr>
          <p:cNvSpPr txBox="1"/>
          <p:nvPr/>
        </p:nvSpPr>
        <p:spPr>
          <a:xfrm>
            <a:off x="734518" y="734518"/>
            <a:ext cx="5133521" cy="369332"/>
          </a:xfrm>
          <a:prstGeom prst="rect">
            <a:avLst/>
          </a:prstGeom>
          <a:noFill/>
        </p:spPr>
        <p:txBody>
          <a:bodyPr wrap="none" rtlCol="0">
            <a:spAutoFit/>
          </a:bodyPr>
          <a:lstStyle/>
          <a:p>
            <a:r>
              <a:rPr lang="en-US" b="1"/>
              <a:t>Step 8 – Assign right owner in the Purview Portal. </a:t>
            </a:r>
          </a:p>
        </p:txBody>
      </p:sp>
      <p:sp>
        <p:nvSpPr>
          <p:cNvPr id="3" name="TextBox 2">
            <a:extLst>
              <a:ext uri="{FF2B5EF4-FFF2-40B4-BE49-F238E27FC236}">
                <a16:creationId xmlns:a16="http://schemas.microsoft.com/office/drawing/2014/main" id="{0242CBDF-89C5-7AB5-9445-67AE993B5775}"/>
              </a:ext>
            </a:extLst>
          </p:cNvPr>
          <p:cNvSpPr txBox="1"/>
          <p:nvPr/>
        </p:nvSpPr>
        <p:spPr>
          <a:xfrm>
            <a:off x="7022282" y="2289828"/>
            <a:ext cx="4583819" cy="3693319"/>
          </a:xfrm>
          <a:prstGeom prst="rect">
            <a:avLst/>
          </a:prstGeom>
          <a:solidFill>
            <a:srgbClr val="FFFDF9">
              <a:alpha val="60000"/>
            </a:srgbClr>
          </a:solidFill>
        </p:spPr>
        <p:txBody>
          <a:bodyPr wrap="none" rtlCol="0">
            <a:spAutoFit/>
          </a:bodyPr>
          <a:lstStyle/>
          <a:p>
            <a:pPr marL="285750" indent="-285750">
              <a:buFont typeface="Arial" panose="020B0604020202020204" pitchFamily="34" charset="0"/>
              <a:buChar char="•"/>
            </a:pPr>
            <a:r>
              <a:rPr lang="en-US"/>
              <a:t>In the </a:t>
            </a:r>
            <a:r>
              <a:rPr lang="en-US" b="1">
                <a:solidFill>
                  <a:schemeClr val="accent1">
                    <a:lumMod val="50000"/>
                  </a:schemeClr>
                </a:solidFill>
              </a:rPr>
              <a:t>Data Map </a:t>
            </a:r>
            <a:r>
              <a:rPr lang="en-US"/>
              <a:t>navigate to </a:t>
            </a:r>
            <a:r>
              <a:rPr lang="en-US" b="1">
                <a:solidFill>
                  <a:schemeClr val="accent1">
                    <a:lumMod val="50000"/>
                  </a:schemeClr>
                </a:solidFill>
              </a:rPr>
              <a:t>Domain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lick </a:t>
            </a:r>
            <a:r>
              <a:rPr lang="en-US" b="1">
                <a:solidFill>
                  <a:schemeClr val="accent1">
                    <a:lumMod val="50000"/>
                  </a:schemeClr>
                </a:solidFill>
              </a:rPr>
              <a:t>Role Assignment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Under </a:t>
            </a:r>
            <a:r>
              <a:rPr lang="en-US" b="1">
                <a:solidFill>
                  <a:schemeClr val="accent1">
                    <a:lumMod val="50000"/>
                  </a:schemeClr>
                </a:solidFill>
              </a:rPr>
              <a:t>Collection Admin </a:t>
            </a:r>
            <a:r>
              <a:rPr lang="en-US"/>
              <a:t>add the right</a:t>
            </a:r>
            <a:br>
              <a:rPr lang="en-US"/>
            </a:br>
            <a:r>
              <a:rPr lang="en-US"/>
              <a:t>person/group – and (maybe) remove the </a:t>
            </a:r>
            <a:br>
              <a:rPr lang="en-US"/>
            </a:br>
            <a:r>
              <a:rPr lang="en-US"/>
              <a:t>creator of the Purview Instance.</a:t>
            </a:r>
            <a:br>
              <a:rPr lang="en-US"/>
            </a:br>
            <a:br>
              <a:rPr lang="en-US"/>
            </a:br>
            <a:r>
              <a:rPr lang="en-US"/>
              <a:t>It then this group/person task to assign</a:t>
            </a:r>
            <a:br>
              <a:rPr lang="en-US"/>
            </a:br>
            <a:r>
              <a:rPr lang="en-US"/>
              <a:t>further rights in Purview.</a:t>
            </a:r>
            <a:br>
              <a:rPr lang="en-US"/>
            </a:br>
            <a:br>
              <a:rPr lang="en-US"/>
            </a:br>
            <a:r>
              <a:rPr lang="en-US"/>
              <a:t>Note: Purview rights is </a:t>
            </a:r>
            <a:r>
              <a:rPr lang="en-US" b="1">
                <a:solidFill>
                  <a:schemeClr val="accent1">
                    <a:lumMod val="50000"/>
                  </a:schemeClr>
                </a:solidFill>
              </a:rPr>
              <a:t>NOT </a:t>
            </a:r>
            <a:br>
              <a:rPr lang="en-US"/>
            </a:br>
            <a:r>
              <a:rPr lang="en-US"/>
              <a:t>maintained in </a:t>
            </a:r>
            <a:r>
              <a:rPr lang="en-US" b="1">
                <a:solidFill>
                  <a:schemeClr val="accent1">
                    <a:lumMod val="50000"/>
                  </a:schemeClr>
                </a:solidFill>
              </a:rPr>
              <a:t>Entra ID</a:t>
            </a:r>
            <a:r>
              <a:rPr lang="en-US"/>
              <a:t> but in Purview.</a:t>
            </a:r>
          </a:p>
        </p:txBody>
      </p:sp>
      <p:cxnSp>
        <p:nvCxnSpPr>
          <p:cNvPr id="5" name="Straight Arrow Connector 4">
            <a:extLst>
              <a:ext uri="{FF2B5EF4-FFF2-40B4-BE49-F238E27FC236}">
                <a16:creationId xmlns:a16="http://schemas.microsoft.com/office/drawing/2014/main" id="{561894AC-E758-108C-24BA-2905C053DF65}"/>
              </a:ext>
            </a:extLst>
          </p:cNvPr>
          <p:cNvCxnSpPr>
            <a:cxnSpLocks/>
          </p:cNvCxnSpPr>
          <p:nvPr/>
        </p:nvCxnSpPr>
        <p:spPr>
          <a:xfrm flipH="1">
            <a:off x="974361" y="2458959"/>
            <a:ext cx="6078178" cy="240092"/>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52DB9B8A-9DF8-0857-53CD-D10B429989EE}"/>
              </a:ext>
            </a:extLst>
          </p:cNvPr>
          <p:cNvCxnSpPr>
            <a:cxnSpLocks/>
          </p:cNvCxnSpPr>
          <p:nvPr/>
        </p:nvCxnSpPr>
        <p:spPr>
          <a:xfrm flipH="1">
            <a:off x="5268205" y="3052404"/>
            <a:ext cx="1754077" cy="775346"/>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4C499102-A3B5-9795-B505-F655488074C3}"/>
              </a:ext>
            </a:extLst>
          </p:cNvPr>
          <p:cNvCxnSpPr>
            <a:cxnSpLocks/>
          </p:cNvCxnSpPr>
          <p:nvPr/>
        </p:nvCxnSpPr>
        <p:spPr>
          <a:xfrm flipH="1">
            <a:off x="5268205" y="3612630"/>
            <a:ext cx="1696125" cy="1144427"/>
          </a:xfrm>
          <a:prstGeom prst="straightConnector1">
            <a:avLst/>
          </a:prstGeom>
          <a:ln w="25400">
            <a:solidFill>
              <a:srgbClr val="FF0000">
                <a:alpha val="5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E788DA6-8F3D-6244-6424-AF8E9F025016}"/>
              </a:ext>
            </a:extLst>
          </p:cNvPr>
          <p:cNvSpPr txBox="1"/>
          <p:nvPr/>
        </p:nvSpPr>
        <p:spPr>
          <a:xfrm>
            <a:off x="106100" y="6331848"/>
            <a:ext cx="1410184" cy="369332"/>
          </a:xfrm>
          <a:prstGeom prst="rect">
            <a:avLst/>
          </a:prstGeom>
          <a:noFill/>
        </p:spPr>
        <p:txBody>
          <a:bodyPr wrap="square">
            <a:spAutoFit/>
          </a:bodyPr>
          <a:lstStyle/>
          <a:p>
            <a:r>
              <a:rPr lang="en-US" b="1" dirty="0">
                <a:solidFill>
                  <a:srgbClr val="FFC000"/>
                </a:solidFill>
              </a:rPr>
              <a:t>Installation</a:t>
            </a:r>
            <a:endParaRPr lang="en-US" dirty="0">
              <a:solidFill>
                <a:srgbClr val="FFC000"/>
              </a:solidFill>
            </a:endParaRPr>
          </a:p>
        </p:txBody>
      </p:sp>
    </p:spTree>
    <p:extLst>
      <p:ext uri="{BB962C8B-B14F-4D97-AF65-F5344CB8AC3E}">
        <p14:creationId xmlns:p14="http://schemas.microsoft.com/office/powerpoint/2010/main" val="49865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FB4A6-84F3-6348-A1E3-3FA99BC112D9}"/>
              </a:ext>
            </a:extLst>
          </p:cNvPr>
          <p:cNvSpPr>
            <a:spLocks noGrp="1"/>
          </p:cNvSpPr>
          <p:nvPr>
            <p:ph type="title" idx="4294967295"/>
          </p:nvPr>
        </p:nvSpPr>
        <p:spPr>
          <a:xfrm>
            <a:off x="333479" y="1780914"/>
            <a:ext cx="3767138" cy="2216150"/>
          </a:xfrm>
        </p:spPr>
        <p:txBody>
          <a:bodyPr wrap="square">
            <a:spAutoFit/>
          </a:bodyPr>
          <a:lstStyle/>
          <a:p>
            <a:r>
              <a:rPr lang="en-US" dirty="0">
                <a:solidFill>
                  <a:schemeClr val="tx1"/>
                </a:solidFill>
              </a:rPr>
              <a:t>Organizations struggle to secure and govern their data </a:t>
            </a:r>
          </a:p>
        </p:txBody>
      </p:sp>
      <p:sp>
        <p:nvSpPr>
          <p:cNvPr id="14" name="Rectangle: Single Corner Rounded 13">
            <a:extLst>
              <a:ext uri="{FF2B5EF4-FFF2-40B4-BE49-F238E27FC236}">
                <a16:creationId xmlns:a16="http://schemas.microsoft.com/office/drawing/2014/main" id="{A590CE6A-ABB1-8529-9A94-3A9EA71C4C47}"/>
              </a:ext>
              <a:ext uri="{C183D7F6-B498-43B3-948B-1728B52AA6E4}">
                <adec:decorative xmlns:adec="http://schemas.microsoft.com/office/drawing/2017/decorative" val="1"/>
              </a:ext>
            </a:extLst>
          </p:cNvPr>
          <p:cNvSpPr/>
          <p:nvPr/>
        </p:nvSpPr>
        <p:spPr bwMode="auto">
          <a:xfrm rot="10800000">
            <a:off x="4355917" y="-3"/>
            <a:ext cx="7836079" cy="6375403"/>
          </a:xfrm>
          <a:prstGeom prst="round1Rect">
            <a:avLst>
              <a:gd name="adj" fmla="val 25919"/>
            </a:avLst>
          </a:prstGeom>
          <a:gradFill flip="none" rotWithShape="1">
            <a:gsLst>
              <a:gs pos="0">
                <a:srgbClr val="00B0F0"/>
              </a:gs>
              <a:gs pos="100000">
                <a:srgbClr val="07173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0" name="Rectangle: Single Corner Rounded 9">
            <a:extLst>
              <a:ext uri="{FF2B5EF4-FFF2-40B4-BE49-F238E27FC236}">
                <a16:creationId xmlns:a16="http://schemas.microsoft.com/office/drawing/2014/main" id="{165DB6D1-20DF-02BC-DA59-6FF7B15672AE}"/>
              </a:ext>
              <a:ext uri="{C183D7F6-B498-43B3-948B-1728B52AA6E4}">
                <adec:decorative xmlns:adec="http://schemas.microsoft.com/office/drawing/2017/decorative" val="1"/>
              </a:ext>
            </a:extLst>
          </p:cNvPr>
          <p:cNvSpPr/>
          <p:nvPr/>
        </p:nvSpPr>
        <p:spPr bwMode="auto">
          <a:xfrm>
            <a:off x="4356198" y="1221115"/>
            <a:ext cx="7388362" cy="1371600"/>
          </a:xfrm>
          <a:prstGeom prst="round1Rect">
            <a:avLst>
              <a:gd name="adj" fmla="val 35976"/>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0" name="Rectangle: Single Corner Rounded 19">
            <a:extLst>
              <a:ext uri="{FF2B5EF4-FFF2-40B4-BE49-F238E27FC236}">
                <a16:creationId xmlns:a16="http://schemas.microsoft.com/office/drawing/2014/main" id="{48403CC4-0CE3-22A8-8D71-7E97F39FB31B}"/>
              </a:ext>
              <a:ext uri="{C183D7F6-B498-43B3-948B-1728B52AA6E4}">
                <adec:decorative xmlns:adec="http://schemas.microsoft.com/office/drawing/2017/decorative" val="1"/>
              </a:ext>
            </a:extLst>
          </p:cNvPr>
          <p:cNvSpPr/>
          <p:nvPr/>
        </p:nvSpPr>
        <p:spPr bwMode="auto">
          <a:xfrm flipV="1">
            <a:off x="4356199" y="2729353"/>
            <a:ext cx="7388362" cy="1371600"/>
          </a:xfrm>
          <a:prstGeom prst="round1Rect">
            <a:avLst>
              <a:gd name="adj" fmla="val 0"/>
            </a:avLst>
          </a:prstGeom>
          <a:solidFill>
            <a:srgbClr val="C3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9DDFA7F7-68CD-BBDB-A52B-1243F037D0E9}"/>
              </a:ext>
              <a:ext uri="{C183D7F6-B498-43B3-948B-1728B52AA6E4}">
                <adec:decorative xmlns:adec="http://schemas.microsoft.com/office/drawing/2017/decorative" val="1"/>
              </a:ext>
            </a:extLst>
          </p:cNvPr>
          <p:cNvSpPr/>
          <p:nvPr/>
        </p:nvSpPr>
        <p:spPr bwMode="auto">
          <a:xfrm flipV="1">
            <a:off x="4355917" y="4200548"/>
            <a:ext cx="7381551" cy="1077381"/>
          </a:xfrm>
          <a:custGeom>
            <a:avLst/>
            <a:gdLst>
              <a:gd name="connsiteX0" fmla="*/ 0 w 7381547"/>
              <a:gd name="connsiteY0" fmla="*/ 1371598 h 1371598"/>
              <a:gd name="connsiteX1" fmla="*/ 7381547 w 7381547"/>
              <a:gd name="connsiteY1" fmla="*/ 1371598 h 1371598"/>
              <a:gd name="connsiteX2" fmla="*/ 7381547 w 7381547"/>
              <a:gd name="connsiteY2" fmla="*/ 493446 h 1371598"/>
              <a:gd name="connsiteX3" fmla="*/ 6888101 w 7381547"/>
              <a:gd name="connsiteY3" fmla="*/ 0 h 1371598"/>
              <a:gd name="connsiteX4" fmla="*/ 78332 w 7381547"/>
              <a:gd name="connsiteY4" fmla="*/ 0 h 1371598"/>
              <a:gd name="connsiteX5" fmla="*/ 78230 w 7381547"/>
              <a:gd name="connsiteY5" fmla="*/ 280 h 1371598"/>
              <a:gd name="connsiteX6" fmla="*/ 0 w 7381547"/>
              <a:gd name="connsiteY6" fmla="*/ 517726 h 137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547" h="1371598">
                <a:moveTo>
                  <a:pt x="0" y="1371598"/>
                </a:moveTo>
                <a:lnTo>
                  <a:pt x="7381547" y="1371598"/>
                </a:lnTo>
                <a:lnTo>
                  <a:pt x="7381547" y="493446"/>
                </a:lnTo>
                <a:cubicBezTo>
                  <a:pt x="7381547" y="220923"/>
                  <a:pt x="7160624" y="0"/>
                  <a:pt x="6888101" y="0"/>
                </a:cubicBezTo>
                <a:lnTo>
                  <a:pt x="78332" y="0"/>
                </a:lnTo>
                <a:lnTo>
                  <a:pt x="78230" y="280"/>
                </a:lnTo>
                <a:cubicBezTo>
                  <a:pt x="27388" y="163741"/>
                  <a:pt x="0" y="337535"/>
                  <a:pt x="0" y="517726"/>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7" name="Content Placeholder 2">
            <a:extLst>
              <a:ext uri="{FF2B5EF4-FFF2-40B4-BE49-F238E27FC236}">
                <a16:creationId xmlns:a16="http://schemas.microsoft.com/office/drawing/2014/main" id="{FE2B3B37-F07E-D9D4-4EEA-E3C3BE958F3B}"/>
              </a:ext>
            </a:extLst>
          </p:cNvPr>
          <p:cNvSpPr txBox="1">
            <a:spLocks/>
          </p:cNvSpPr>
          <p:nvPr/>
        </p:nvSpPr>
        <p:spPr>
          <a:xfrm>
            <a:off x="4866799" y="1555661"/>
            <a:ext cx="1258358" cy="677108"/>
          </a:xfrm>
          <a:prstGeom prst="rect">
            <a:avLst/>
          </a:prstGeom>
        </p:spPr>
        <p:txBody>
          <a:bodyPr vert="horz" wrap="non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74% </a:t>
            </a:r>
          </a:p>
        </p:txBody>
      </p:sp>
      <p:sp>
        <p:nvSpPr>
          <p:cNvPr id="18" name="Content Placeholder 2">
            <a:extLst>
              <a:ext uri="{FF2B5EF4-FFF2-40B4-BE49-F238E27FC236}">
                <a16:creationId xmlns:a16="http://schemas.microsoft.com/office/drawing/2014/main" id="{0E2EEFB1-FBAF-E338-3817-3EE55565561C}"/>
              </a:ext>
            </a:extLst>
          </p:cNvPr>
          <p:cNvSpPr txBox="1">
            <a:spLocks/>
          </p:cNvSpPr>
          <p:nvPr/>
        </p:nvSpPr>
        <p:spPr>
          <a:xfrm>
            <a:off x="6198637" y="1780914"/>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an’t secure the data</a:t>
            </a:r>
          </a:p>
        </p:txBody>
      </p:sp>
      <p:sp>
        <p:nvSpPr>
          <p:cNvPr id="22" name="Content Placeholder 2">
            <a:extLst>
              <a:ext uri="{FF2B5EF4-FFF2-40B4-BE49-F238E27FC236}">
                <a16:creationId xmlns:a16="http://schemas.microsoft.com/office/drawing/2014/main" id="{28F2CAD2-2396-9081-3ED5-C84EEDFC40BB}"/>
              </a:ext>
            </a:extLst>
          </p:cNvPr>
          <p:cNvSpPr txBox="1">
            <a:spLocks/>
          </p:cNvSpPr>
          <p:nvPr/>
        </p:nvSpPr>
        <p:spPr>
          <a:xfrm>
            <a:off x="4866799" y="3101999"/>
            <a:ext cx="2085403" cy="677108"/>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68% </a:t>
            </a:r>
          </a:p>
        </p:txBody>
      </p:sp>
      <p:sp>
        <p:nvSpPr>
          <p:cNvPr id="23" name="Content Placeholder 2">
            <a:extLst>
              <a:ext uri="{FF2B5EF4-FFF2-40B4-BE49-F238E27FC236}">
                <a16:creationId xmlns:a16="http://schemas.microsoft.com/office/drawing/2014/main" id="{2D718A85-A95F-92E9-B5E1-A1F8B08DAABE}"/>
              </a:ext>
            </a:extLst>
          </p:cNvPr>
          <p:cNvSpPr txBox="1">
            <a:spLocks/>
          </p:cNvSpPr>
          <p:nvPr/>
        </p:nvSpPr>
        <p:spPr>
          <a:xfrm>
            <a:off x="6198637" y="3302053"/>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an’t activate the data</a:t>
            </a:r>
          </a:p>
        </p:txBody>
      </p:sp>
      <p:sp>
        <p:nvSpPr>
          <p:cNvPr id="28" name="TextBox 27">
            <a:extLst>
              <a:ext uri="{FF2B5EF4-FFF2-40B4-BE49-F238E27FC236}">
                <a16:creationId xmlns:a16="http://schemas.microsoft.com/office/drawing/2014/main" id="{98230DC4-E557-0A2D-7A50-3E312610191E}"/>
              </a:ext>
              <a:ext uri="{C183D7F6-B498-43B3-948B-1728B52AA6E4}">
                <adec:decorative xmlns:adec="http://schemas.microsoft.com/office/drawing/2017/decorative" val="0"/>
              </a:ext>
            </a:extLst>
          </p:cNvPr>
          <p:cNvSpPr txBox="1"/>
          <p:nvPr/>
        </p:nvSpPr>
        <p:spPr>
          <a:xfrm>
            <a:off x="4866799" y="4622265"/>
            <a:ext cx="1508791" cy="67710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Segoe UI Semibold"/>
                <a:ea typeface="+mn-ea"/>
                <a:cs typeface="+mn-cs"/>
              </a:rPr>
              <a:t>47% </a:t>
            </a:r>
          </a:p>
        </p:txBody>
      </p:sp>
      <p:sp>
        <p:nvSpPr>
          <p:cNvPr id="29" name="Content Placeholder 2">
            <a:extLst>
              <a:ext uri="{FF2B5EF4-FFF2-40B4-BE49-F238E27FC236}">
                <a16:creationId xmlns:a16="http://schemas.microsoft.com/office/drawing/2014/main" id="{638363DB-95FD-5302-8E3E-DC74216D6B94}"/>
              </a:ext>
            </a:extLst>
          </p:cNvPr>
          <p:cNvSpPr txBox="1">
            <a:spLocks/>
          </p:cNvSpPr>
          <p:nvPr/>
        </p:nvSpPr>
        <p:spPr>
          <a:xfrm>
            <a:off x="6198638" y="4843846"/>
            <a:ext cx="3175374"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Can’t adhere to regulations</a:t>
            </a:r>
          </a:p>
        </p:txBody>
      </p:sp>
      <p:sp>
        <p:nvSpPr>
          <p:cNvPr id="4" name="Rectangle 3">
            <a:extLst>
              <a:ext uri="{FF2B5EF4-FFF2-40B4-BE49-F238E27FC236}">
                <a16:creationId xmlns:a16="http://schemas.microsoft.com/office/drawing/2014/main" id="{42499C96-69A6-F7A0-C8B2-24926CE7AF9F}"/>
              </a:ext>
            </a:extLst>
          </p:cNvPr>
          <p:cNvSpPr/>
          <p:nvPr/>
        </p:nvSpPr>
        <p:spPr bwMode="auto">
          <a:xfrm>
            <a:off x="578977" y="5838131"/>
            <a:ext cx="4555108" cy="369332"/>
          </a:xfrm>
          <a:prstGeom prst="rect">
            <a:avLst/>
          </a:prstGeom>
          <a:noFill/>
          <a:ln w="9525" cap="flat" cmpd="sng" algn="ctr">
            <a:noFill/>
            <a:prstDash val="solid"/>
            <a:miter lim="800000"/>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rPr>
              <a:t>1. Data Security Index Report</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rPr>
              <a:t>2. 2022 Chief Data Officer survey, Deloitte, 2023.</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rPr>
              <a:t>3. ISMG First Annual Generative AI Study: </a:t>
            </a:r>
          </a:p>
        </p:txBody>
      </p:sp>
    </p:spTree>
    <p:extLst>
      <p:ext uri="{BB962C8B-B14F-4D97-AF65-F5344CB8AC3E}">
        <p14:creationId xmlns:p14="http://schemas.microsoft.com/office/powerpoint/2010/main" val="3999867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grpId="1" nodeType="withEffect">
                                  <p:stCondLst>
                                    <p:cond delay="0"/>
                                  </p:stCondLst>
                                  <p:childTnLst>
                                    <p:animMotion origin="layout" path="M 0.01666 -0.00046 L 3.54167E-6 7.40741E-7 " pathEditMode="relative" rAng="0" ptsTypes="AA">
                                      <p:cBhvr>
                                        <p:cTn id="9" dur="500" fill="hold"/>
                                        <p:tgtEl>
                                          <p:spTgt spid="10"/>
                                        </p:tgtEl>
                                        <p:attrNameLst>
                                          <p:attrName>ppt_x</p:attrName>
                                          <p:attrName>ppt_y</p:attrName>
                                        </p:attrNameLst>
                                      </p:cBhvr>
                                      <p:rCtr x="-833" y="23"/>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250"/>
                                        <p:tgtEl>
                                          <p:spTgt spid="17"/>
                                        </p:tgtEl>
                                      </p:cBhvr>
                                    </p:animEffect>
                                  </p:childTnLst>
                                </p:cTn>
                              </p:par>
                              <p:par>
                                <p:cTn id="13" presetID="42" presetClass="path" presetSubtype="0" decel="100000" fill="hold" grpId="1" nodeType="withEffect">
                                  <p:stCondLst>
                                    <p:cond delay="0"/>
                                  </p:stCondLst>
                                  <p:childTnLst>
                                    <p:animMotion origin="layout" path="M 0.01667 -0.00046 L -8.33333E-7 -3.7037E-6 " pathEditMode="relative" rAng="0" ptsTypes="AA">
                                      <p:cBhvr>
                                        <p:cTn id="14" dur="500" fill="hold"/>
                                        <p:tgtEl>
                                          <p:spTgt spid="17"/>
                                        </p:tgtEl>
                                        <p:attrNameLst>
                                          <p:attrName>ppt_x</p:attrName>
                                          <p:attrName>ppt_y</p:attrName>
                                        </p:attrNameLst>
                                      </p:cBhvr>
                                      <p:rCtr x="-83300" y="2300"/>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250"/>
                                        <p:tgtEl>
                                          <p:spTgt spid="18"/>
                                        </p:tgtEl>
                                      </p:cBhvr>
                                    </p:animEffect>
                                  </p:childTnLst>
                                </p:cTn>
                              </p:par>
                              <p:par>
                                <p:cTn id="18" presetID="42" presetClass="path" presetSubtype="0" decel="100000" fill="hold" grpId="1" nodeType="withEffect">
                                  <p:stCondLst>
                                    <p:cond delay="0"/>
                                  </p:stCondLst>
                                  <p:childTnLst>
                                    <p:animMotion origin="layout" path="M 0.01667 -0.00047 L -1.875E-6 2.59259E-6 " pathEditMode="relative" rAng="0" ptsTypes="AA">
                                      <p:cBhvr>
                                        <p:cTn id="19" dur="500" fill="hold"/>
                                        <p:tgtEl>
                                          <p:spTgt spid="18"/>
                                        </p:tgtEl>
                                        <p:attrNameLst>
                                          <p:attrName>ppt_x</p:attrName>
                                          <p:attrName>ppt_y</p:attrName>
                                        </p:attrNameLst>
                                      </p:cBhvr>
                                      <p:rCtr x="-83300" y="2300"/>
                                    </p:animMotion>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par>
                                <p:cTn id="24" presetID="42" presetClass="path" presetSubtype="0" decel="100000" fill="hold" grpId="1" nodeType="withEffect">
                                  <p:stCondLst>
                                    <p:cond delay="0"/>
                                  </p:stCondLst>
                                  <p:childTnLst>
                                    <p:animMotion origin="layout" path="M 0.01666 -0.00047 L 3.54167E-6 3.33333E-6 " pathEditMode="relative" rAng="0" ptsTypes="AA">
                                      <p:cBhvr>
                                        <p:cTn id="25" dur="500" fill="hold"/>
                                        <p:tgtEl>
                                          <p:spTgt spid="20"/>
                                        </p:tgtEl>
                                        <p:attrNameLst>
                                          <p:attrName>ppt_x</p:attrName>
                                          <p:attrName>ppt_y</p:attrName>
                                        </p:attrNameLst>
                                      </p:cBhvr>
                                      <p:rCtr x="-83300" y="2300"/>
                                    </p:animMotion>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250"/>
                                        <p:tgtEl>
                                          <p:spTgt spid="22"/>
                                        </p:tgtEl>
                                      </p:cBhvr>
                                    </p:animEffect>
                                  </p:childTnLst>
                                </p:cTn>
                              </p:par>
                              <p:par>
                                <p:cTn id="29" presetID="42" presetClass="path" presetSubtype="0" decel="100000" fill="hold" grpId="1" nodeType="withEffect">
                                  <p:stCondLst>
                                    <p:cond delay="0"/>
                                  </p:stCondLst>
                                  <p:childTnLst>
                                    <p:animMotion origin="layout" path="M 0.01666 -0.00047 L 4.58333E-6 3.33333E-6 " pathEditMode="relative" rAng="0" ptsTypes="AA">
                                      <p:cBhvr>
                                        <p:cTn id="30" dur="500" fill="hold"/>
                                        <p:tgtEl>
                                          <p:spTgt spid="22"/>
                                        </p:tgtEl>
                                        <p:attrNameLst>
                                          <p:attrName>ppt_x</p:attrName>
                                          <p:attrName>ppt_y</p:attrName>
                                        </p:attrNameLst>
                                      </p:cBhvr>
                                      <p:rCtr x="-83300" y="2300"/>
                                    </p:animMotion>
                                  </p:childTnLst>
                                </p:cTn>
                              </p:par>
                              <p:par>
                                <p:cTn id="31" presetID="10"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250"/>
                                        <p:tgtEl>
                                          <p:spTgt spid="23"/>
                                        </p:tgtEl>
                                      </p:cBhvr>
                                    </p:animEffect>
                                  </p:childTnLst>
                                </p:cTn>
                              </p:par>
                              <p:par>
                                <p:cTn id="34" presetID="42" presetClass="path" presetSubtype="0" decel="100000" fill="hold" grpId="1" nodeType="withEffect">
                                  <p:stCondLst>
                                    <p:cond delay="0"/>
                                  </p:stCondLst>
                                  <p:childTnLst>
                                    <p:animMotion origin="layout" path="M 0.01667 -0.00047 L -3.95833E-6 3.33333E-6 " pathEditMode="relative" rAng="0" ptsTypes="AA">
                                      <p:cBhvr>
                                        <p:cTn id="35" dur="500" fill="hold"/>
                                        <p:tgtEl>
                                          <p:spTgt spid="23"/>
                                        </p:tgtEl>
                                        <p:attrNameLst>
                                          <p:attrName>ppt_x</p:attrName>
                                          <p:attrName>ppt_y</p:attrName>
                                        </p:attrNameLst>
                                      </p:cBhvr>
                                      <p:rCtr x="-83300" y="2300"/>
                                    </p:animMotion>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250"/>
                                        <p:tgtEl>
                                          <p:spTgt spid="32"/>
                                        </p:tgtEl>
                                      </p:cBhvr>
                                    </p:animEffect>
                                  </p:childTnLst>
                                </p:cTn>
                              </p:par>
                              <p:par>
                                <p:cTn id="40" presetID="42" presetClass="path" presetSubtype="0" decel="100000" fill="hold" grpId="1" nodeType="withEffect">
                                  <p:stCondLst>
                                    <p:cond delay="0"/>
                                  </p:stCondLst>
                                  <p:childTnLst>
                                    <p:animMotion origin="layout" path="M 0.01666 -0.00046 L 3.95833E-6 -2.22222E-6 " pathEditMode="relative" rAng="0" ptsTypes="AA">
                                      <p:cBhvr>
                                        <p:cTn id="41" dur="500" fill="hold"/>
                                        <p:tgtEl>
                                          <p:spTgt spid="32"/>
                                        </p:tgtEl>
                                        <p:attrNameLst>
                                          <p:attrName>ppt_x</p:attrName>
                                          <p:attrName>ppt_y</p:attrName>
                                        </p:attrNameLst>
                                      </p:cBhvr>
                                      <p:rCtr x="-833" y="23"/>
                                    </p:animMotion>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250"/>
                                        <p:tgtEl>
                                          <p:spTgt spid="28"/>
                                        </p:tgtEl>
                                      </p:cBhvr>
                                    </p:animEffect>
                                  </p:childTnLst>
                                </p:cTn>
                              </p:par>
                              <p:par>
                                <p:cTn id="45" presetID="42" presetClass="path" presetSubtype="0" decel="100000" fill="hold" grpId="1" nodeType="withEffect">
                                  <p:stCondLst>
                                    <p:cond delay="0"/>
                                  </p:stCondLst>
                                  <p:childTnLst>
                                    <p:animMotion origin="layout" path="M 0.01666 -0.00047 L 2.29167E-6 4.07407E-6 " pathEditMode="relative" rAng="0" ptsTypes="AA">
                                      <p:cBhvr>
                                        <p:cTn id="46" dur="500" fill="hold"/>
                                        <p:tgtEl>
                                          <p:spTgt spid="28"/>
                                        </p:tgtEl>
                                        <p:attrNameLst>
                                          <p:attrName>ppt_x</p:attrName>
                                          <p:attrName>ppt_y</p:attrName>
                                        </p:attrNameLst>
                                      </p:cBhvr>
                                      <p:rCtr x="-83300" y="2300"/>
                                    </p:animMotion>
                                  </p:childTnLst>
                                </p:cTn>
                              </p:par>
                              <p:par>
                                <p:cTn id="47" presetID="10"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250"/>
                                        <p:tgtEl>
                                          <p:spTgt spid="29"/>
                                        </p:tgtEl>
                                      </p:cBhvr>
                                    </p:animEffect>
                                  </p:childTnLst>
                                </p:cTn>
                              </p:par>
                              <p:par>
                                <p:cTn id="50" presetID="42" presetClass="path" presetSubtype="0" decel="100000" fill="hold" grpId="1" nodeType="withEffect">
                                  <p:stCondLst>
                                    <p:cond delay="0"/>
                                  </p:stCondLst>
                                  <p:childTnLst>
                                    <p:animMotion origin="layout" path="M 0.01667 -0.00046 L -4.375E-6 -2.22222E-6 " pathEditMode="relative" rAng="0" ptsTypes="AA">
                                      <p:cBhvr>
                                        <p:cTn id="51" dur="500" fill="hold"/>
                                        <p:tgtEl>
                                          <p:spTgt spid="29"/>
                                        </p:tgtEl>
                                        <p:attrNameLst>
                                          <p:attrName>ppt_x</p:attrName>
                                          <p:attrName>ppt_y</p:attrName>
                                        </p:attrNameLst>
                                      </p:cBhvr>
                                      <p:rCtr x="-833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20" grpId="0" animBg="1"/>
      <p:bldP spid="20" grpId="1" animBg="1"/>
      <p:bldP spid="32" grpId="0" animBg="1"/>
      <p:bldP spid="32" grpId="1" animBg="1"/>
      <p:bldP spid="17" grpId="0"/>
      <p:bldP spid="17" grpId="1"/>
      <p:bldP spid="18" grpId="0"/>
      <p:bldP spid="18" grpId="1"/>
      <p:bldP spid="22" grpId="0"/>
      <p:bldP spid="22" grpId="1"/>
      <p:bldP spid="23" grpId="0"/>
      <p:bldP spid="23" grpId="1"/>
      <p:bldP spid="28" grpId="0"/>
      <p:bldP spid="28" grpId="1"/>
      <p:bldP spid="29" grpId="0"/>
      <p:bldP spid="2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7E648-16FA-856B-7950-B0F9A7A55500}"/>
            </a:ext>
          </a:extLst>
        </p:cNvPr>
        <p:cNvGrpSpPr/>
        <p:nvPr/>
      </p:nvGrpSpPr>
      <p:grpSpPr>
        <a:xfrm>
          <a:off x="0" y="0"/>
          <a:ext cx="0" cy="0"/>
          <a:chOff x="0" y="0"/>
          <a:chExt cx="0" cy="0"/>
        </a:xfrm>
      </p:grpSpPr>
      <p:sp>
        <p:nvSpPr>
          <p:cNvPr id="3" name="Text Placeholder 1">
            <a:extLst>
              <a:ext uri="{FF2B5EF4-FFF2-40B4-BE49-F238E27FC236}">
                <a16:creationId xmlns:a16="http://schemas.microsoft.com/office/drawing/2014/main" id="{3442DC45-096F-FD9B-068A-4586CC60FF97}"/>
              </a:ext>
            </a:extLst>
          </p:cNvPr>
          <p:cNvSpPr txBox="1">
            <a:spLocks/>
          </p:cNvSpPr>
          <p:nvPr/>
        </p:nvSpPr>
        <p:spPr>
          <a:xfrm>
            <a:off x="1792519" y="1955882"/>
            <a:ext cx="9655175" cy="2617788"/>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sz="3600" dirty="0">
                <a:solidFill>
                  <a:schemeClr val="accent2"/>
                </a:solidFill>
              </a:rPr>
              <a:t>“</a:t>
            </a:r>
            <a:r>
              <a:rPr lang="en-US" sz="3600" dirty="0">
                <a:solidFill>
                  <a:schemeClr val="accent2"/>
                </a:solidFill>
                <a:latin typeface="Segoe UI Semibold"/>
              </a:rPr>
              <a:t>Without proper governance and security initiatives within ai, data &amp; analytics are at risk of producing unreliable or compromised results”</a:t>
            </a:r>
            <a:endParaRPr lang="en-US" sz="3600" dirty="0">
              <a:solidFill>
                <a:schemeClr val="accent2"/>
              </a:solidFill>
            </a:endParaRPr>
          </a:p>
        </p:txBody>
      </p:sp>
    </p:spTree>
    <p:extLst>
      <p:ext uri="{BB962C8B-B14F-4D97-AF65-F5344CB8AC3E}">
        <p14:creationId xmlns:p14="http://schemas.microsoft.com/office/powerpoint/2010/main" val="1998368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1CEEE4-CEB9-4403-B4FE-E12B4C05B6D0}"/>
              </a:ext>
            </a:extLst>
          </p:cNvPr>
          <p:cNvSpPr>
            <a:spLocks noGrp="1"/>
          </p:cNvSpPr>
          <p:nvPr>
            <p:ph type="title" idx="4294967295"/>
          </p:nvPr>
        </p:nvSpPr>
        <p:spPr>
          <a:xfrm>
            <a:off x="346752" y="352098"/>
            <a:ext cx="11029950" cy="549275"/>
          </a:xfrm>
        </p:spPr>
        <p:txBody>
          <a:bodyPr>
            <a:normAutofit fontScale="90000"/>
          </a:bodyPr>
          <a:lstStyle/>
          <a:p>
            <a:pPr algn="l"/>
            <a:r>
              <a:rPr lang="en-US" sz="3200" dirty="0">
                <a:cs typeface="Segoe UI"/>
              </a:rPr>
              <a:t>Microsoft Purview</a:t>
            </a:r>
            <a:br>
              <a:rPr lang="en-US" dirty="0">
                <a:solidFill>
                  <a:schemeClr val="accent1"/>
                </a:solidFill>
              </a:rPr>
            </a:br>
            <a:r>
              <a:rPr lang="en-US" sz="2200" dirty="0">
                <a:solidFill>
                  <a:schemeClr val="bg1"/>
                </a:solidFill>
                <a:cs typeface="Segoe UI"/>
              </a:rPr>
              <a:t>Comprehensive solutions to help govern, protect and manage your data estate</a:t>
            </a:r>
            <a:endParaRPr lang="en-US" sz="2200" dirty="0">
              <a:solidFill>
                <a:schemeClr val="bg1"/>
              </a:solidFill>
            </a:endParaRPr>
          </a:p>
        </p:txBody>
      </p:sp>
      <p:sp>
        <p:nvSpPr>
          <p:cNvPr id="9" name="Text Placeholder 8">
            <a:extLst>
              <a:ext uri="{FF2B5EF4-FFF2-40B4-BE49-F238E27FC236}">
                <a16:creationId xmlns:a16="http://schemas.microsoft.com/office/drawing/2014/main" id="{2F6CF299-06B1-425A-A0AE-AE641938D6BA}"/>
              </a:ext>
            </a:extLst>
          </p:cNvPr>
          <p:cNvSpPr>
            <a:spLocks noGrp="1"/>
          </p:cNvSpPr>
          <p:nvPr>
            <p:ph type="body" sz="quarter" idx="4294967295"/>
          </p:nvPr>
        </p:nvSpPr>
        <p:spPr>
          <a:xfrm>
            <a:off x="9201150" y="4086225"/>
            <a:ext cx="2990850" cy="1468438"/>
          </a:xfrm>
        </p:spPr>
        <p:txBody>
          <a:bodyPr/>
          <a:lstStyle/>
          <a:p>
            <a:pPr marL="0" indent="0">
              <a:buNone/>
            </a:pPr>
            <a:r>
              <a:rPr lang="en-US" sz="2000" dirty="0">
                <a:solidFill>
                  <a:schemeClr val="bg1"/>
                </a:solidFill>
                <a:latin typeface="+mn-lt"/>
              </a:rPr>
              <a:t>Safeguard data, </a:t>
            </a:r>
            <a:br>
              <a:rPr lang="en-US" sz="2000" dirty="0">
                <a:solidFill>
                  <a:schemeClr val="bg1"/>
                </a:solidFill>
                <a:latin typeface="+mn-lt"/>
              </a:rPr>
            </a:br>
            <a:r>
              <a:rPr lang="en-US" sz="2000" dirty="0">
                <a:solidFill>
                  <a:schemeClr val="bg1"/>
                </a:solidFill>
                <a:latin typeface="+mn-lt"/>
              </a:rPr>
              <a:t>wherever it lives</a:t>
            </a:r>
          </a:p>
          <a:p>
            <a:pPr marL="0" indent="0">
              <a:buNone/>
            </a:pPr>
            <a:r>
              <a:rPr lang="en-US" sz="1200" dirty="0">
                <a:solidFill>
                  <a:schemeClr val="bg1"/>
                </a:solidFill>
                <a:latin typeface="+mn-lt"/>
              </a:rPr>
              <a:t>Protect sensitive data across clouds, apps, and devices</a:t>
            </a:r>
          </a:p>
        </p:txBody>
      </p:sp>
      <p:sp>
        <p:nvSpPr>
          <p:cNvPr id="10" name="Text Placeholder 9">
            <a:extLst>
              <a:ext uri="{FF2B5EF4-FFF2-40B4-BE49-F238E27FC236}">
                <a16:creationId xmlns:a16="http://schemas.microsoft.com/office/drawing/2014/main" id="{93548360-E01F-464C-804E-86BC9C05B33B}"/>
              </a:ext>
            </a:extLst>
          </p:cNvPr>
          <p:cNvSpPr>
            <a:spLocks noGrp="1"/>
          </p:cNvSpPr>
          <p:nvPr>
            <p:ph type="body" sz="quarter" idx="4294967295"/>
          </p:nvPr>
        </p:nvSpPr>
        <p:spPr>
          <a:xfrm>
            <a:off x="9201150" y="4033838"/>
            <a:ext cx="2990850" cy="1468437"/>
          </a:xfrm>
        </p:spPr>
        <p:txBody>
          <a:bodyPr/>
          <a:lstStyle/>
          <a:p>
            <a:pPr marL="0" indent="0">
              <a:buNone/>
            </a:pPr>
            <a:r>
              <a:rPr lang="en-US" sz="2000" spc="-50" dirty="0">
                <a:solidFill>
                  <a:schemeClr val="bg1"/>
                </a:solidFill>
                <a:latin typeface="+mn-lt"/>
              </a:rPr>
              <a:t>Improve risk &amp; compliance posture</a:t>
            </a:r>
          </a:p>
          <a:p>
            <a:pPr marL="0" indent="0">
              <a:buNone/>
            </a:pPr>
            <a:r>
              <a:rPr lang="en-US" sz="1200" dirty="0">
                <a:solidFill>
                  <a:schemeClr val="bg1"/>
                </a:solidFill>
                <a:latin typeface="+mn-lt"/>
              </a:rPr>
              <a:t>Identify data risks and manage regulatory compliance requirements</a:t>
            </a:r>
          </a:p>
        </p:txBody>
      </p:sp>
      <p:sp>
        <p:nvSpPr>
          <p:cNvPr id="22" name="TextBox 21">
            <a:extLst>
              <a:ext uri="{FF2B5EF4-FFF2-40B4-BE49-F238E27FC236}">
                <a16:creationId xmlns:a16="http://schemas.microsoft.com/office/drawing/2014/main" id="{A0B5C75E-AFCE-45E6-84BD-4B261B0DC56A}"/>
              </a:ext>
            </a:extLst>
          </p:cNvPr>
          <p:cNvSpPr txBox="1"/>
          <p:nvPr/>
        </p:nvSpPr>
        <p:spPr>
          <a:xfrm>
            <a:off x="586740" y="5501883"/>
            <a:ext cx="11173238" cy="681038"/>
          </a:xfrm>
          <a:prstGeom prst="roundRect">
            <a:avLst/>
          </a:prstGeom>
          <a:solidFill>
            <a:schemeClr val="bg1">
              <a:lumMod val="50000"/>
              <a:lumOff val="50000"/>
              <a:alpha val="50196"/>
            </a:schemeClr>
          </a:solid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Microsoft ecosystem</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upport for multi-cloud, hybrid, SaaS data | Third-party/partner ecosystem</a:t>
            </a:r>
          </a:p>
        </p:txBody>
      </p:sp>
      <p:cxnSp>
        <p:nvCxnSpPr>
          <p:cNvPr id="24" name="Connector: Elbow 23">
            <a:extLst>
              <a:ext uri="{FF2B5EF4-FFF2-40B4-BE49-F238E27FC236}">
                <a16:creationId xmlns:a16="http://schemas.microsoft.com/office/drawing/2014/main" id="{E3C9B60E-AFDF-4357-9A7B-36C385F7F3DA}"/>
              </a:ext>
            </a:extLst>
          </p:cNvPr>
          <p:cNvCxnSpPr>
            <a:cxnSpLocks/>
          </p:cNvCxnSpPr>
          <p:nvPr/>
        </p:nvCxnSpPr>
        <p:spPr>
          <a:xfrm flipV="1">
            <a:off x="9684689" y="5351230"/>
            <a:ext cx="1920571" cy="628153"/>
          </a:xfrm>
          <a:prstGeom prst="bentConnector3">
            <a:avLst>
              <a:gd name="adj1" fmla="val 100095"/>
            </a:avLst>
          </a:prstGeom>
          <a:ln>
            <a:solidFill>
              <a:schemeClr val="accent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2BBFC316-3104-47C1-8ED3-A1DE80461DDA}"/>
              </a:ext>
            </a:extLst>
          </p:cNvPr>
          <p:cNvCxnSpPr>
            <a:cxnSpLocks/>
          </p:cNvCxnSpPr>
          <p:nvPr/>
        </p:nvCxnSpPr>
        <p:spPr>
          <a:xfrm flipH="1" flipV="1">
            <a:off x="779228" y="5351230"/>
            <a:ext cx="1920571" cy="628153"/>
          </a:xfrm>
          <a:prstGeom prst="bentConnector3">
            <a:avLst>
              <a:gd name="adj1" fmla="val 100095"/>
            </a:avLst>
          </a:prstGeom>
          <a:ln>
            <a:solidFill>
              <a:schemeClr val="accent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48715B62-ECF0-4167-8E16-4C9EDC5A6F4C}"/>
              </a:ext>
            </a:extLst>
          </p:cNvPr>
          <p:cNvGrpSpPr/>
          <p:nvPr/>
        </p:nvGrpSpPr>
        <p:grpSpPr>
          <a:xfrm>
            <a:off x="1577810" y="1621658"/>
            <a:ext cx="2286000" cy="2286000"/>
            <a:chOff x="430927" y="1397840"/>
            <a:chExt cx="2286000" cy="2286000"/>
          </a:xfrm>
        </p:grpSpPr>
        <p:sp>
          <p:nvSpPr>
            <p:cNvPr id="34" name="Rounded Rectangle 5">
              <a:extLst>
                <a:ext uri="{FF2B5EF4-FFF2-40B4-BE49-F238E27FC236}">
                  <a16:creationId xmlns:a16="http://schemas.microsoft.com/office/drawing/2014/main" id="{128697DA-0CBB-46BF-BD82-3C88C4D26C1F}"/>
                </a:ext>
              </a:extLst>
            </p:cNvPr>
            <p:cNvSpPr/>
            <p:nvPr/>
          </p:nvSpPr>
          <p:spPr bwMode="auto">
            <a:xfrm>
              <a:off x="430927" y="1397840"/>
              <a:ext cx="2286000" cy="2286000"/>
            </a:xfrm>
            <a:prstGeom prst="roundRect">
              <a:avLst>
                <a:gd name="adj"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766ABEC9-D046-439B-88BF-3961CBA789FC}"/>
                </a:ext>
              </a:extLst>
            </p:cNvPr>
            <p:cNvGrpSpPr/>
            <p:nvPr/>
          </p:nvGrpSpPr>
          <p:grpSpPr>
            <a:xfrm>
              <a:off x="876299" y="1809056"/>
              <a:ext cx="1271623" cy="1440487"/>
              <a:chOff x="3429631" y="2397667"/>
              <a:chExt cx="1693340" cy="1918205"/>
            </a:xfrm>
          </p:grpSpPr>
          <p:sp>
            <p:nvSpPr>
              <p:cNvPr id="36" name="Arc 35">
                <a:extLst>
                  <a:ext uri="{FF2B5EF4-FFF2-40B4-BE49-F238E27FC236}">
                    <a16:creationId xmlns:a16="http://schemas.microsoft.com/office/drawing/2014/main" id="{8117E2B7-7F67-4A46-AB9F-69DE07010B87}"/>
                  </a:ext>
                </a:extLst>
              </p:cNvPr>
              <p:cNvSpPr/>
              <p:nvPr/>
            </p:nvSpPr>
            <p:spPr>
              <a:xfrm rot="5400000">
                <a:off x="4295218" y="3627326"/>
                <a:ext cx="671497" cy="705596"/>
              </a:xfrm>
              <a:prstGeom prst="arc">
                <a:avLst>
                  <a:gd name="adj1" fmla="val 16278236"/>
                  <a:gd name="adj2" fmla="val 5364082"/>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37" name="Straight Connector 36">
                <a:extLst>
                  <a:ext uri="{FF2B5EF4-FFF2-40B4-BE49-F238E27FC236}">
                    <a16:creationId xmlns:a16="http://schemas.microsoft.com/office/drawing/2014/main" id="{C420786B-48A8-41B0-B1FF-687651E1CE78}"/>
                  </a:ext>
                </a:extLst>
              </p:cNvPr>
              <p:cNvCxnSpPr>
                <a:cxnSpLocks/>
                <a:stCxn id="36" idx="0"/>
              </p:cNvCxnSpPr>
              <p:nvPr/>
            </p:nvCxnSpPr>
            <p:spPr>
              <a:xfrm flipV="1">
                <a:off x="4983664" y="3424790"/>
                <a:ext cx="104" cy="563362"/>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048765D-AEFA-49C0-BFC9-33BAE71995DF}"/>
                  </a:ext>
                </a:extLst>
              </p:cNvPr>
              <p:cNvCxnSpPr>
                <a:cxnSpLocks/>
              </p:cNvCxnSpPr>
              <p:nvPr/>
            </p:nvCxnSpPr>
            <p:spPr>
              <a:xfrm rot="5400000" flipH="1">
                <a:off x="4004972" y="3665513"/>
                <a:ext cx="539033" cy="0"/>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c 39">
                <a:extLst>
                  <a:ext uri="{FF2B5EF4-FFF2-40B4-BE49-F238E27FC236}">
                    <a16:creationId xmlns:a16="http://schemas.microsoft.com/office/drawing/2014/main" id="{87EC04B3-4D50-49CC-ADB2-D88228EFDA86}"/>
                  </a:ext>
                </a:extLst>
              </p:cNvPr>
              <p:cNvSpPr/>
              <p:nvPr/>
            </p:nvSpPr>
            <p:spPr>
              <a:xfrm rot="16200000">
                <a:off x="3583282" y="3019099"/>
                <a:ext cx="671498" cy="705598"/>
              </a:xfrm>
              <a:prstGeom prst="arc">
                <a:avLst>
                  <a:gd name="adj1" fmla="val 16278236"/>
                  <a:gd name="adj2" fmla="val 5364082"/>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B28052F-BECA-4B2C-9DA4-75FA6224A24A}"/>
                  </a:ext>
                </a:extLst>
              </p:cNvPr>
              <p:cNvCxnSpPr>
                <a:cxnSpLocks/>
              </p:cNvCxnSpPr>
              <p:nvPr/>
            </p:nvCxnSpPr>
            <p:spPr>
              <a:xfrm rot="5400000" flipH="1">
                <a:off x="3365584" y="3596176"/>
                <a:ext cx="400360" cy="0"/>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E354956-AA07-4D5C-B654-2131EA7DF234}"/>
                  </a:ext>
                </a:extLst>
              </p:cNvPr>
              <p:cNvSpPr/>
              <p:nvPr/>
            </p:nvSpPr>
            <p:spPr bwMode="auto">
              <a:xfrm>
                <a:off x="3429631" y="3644375"/>
                <a:ext cx="290666" cy="290665"/>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DBD7E2E4-0592-46E6-AF63-27C5668EB16B}"/>
                  </a:ext>
                </a:extLst>
              </p:cNvPr>
              <p:cNvSpPr/>
              <p:nvPr/>
            </p:nvSpPr>
            <p:spPr bwMode="auto">
              <a:xfrm>
                <a:off x="4129042" y="3644375"/>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1DD4C406-FF66-444E-8D80-EEA723DC088B}"/>
                  </a:ext>
                </a:extLst>
              </p:cNvPr>
              <p:cNvSpPr/>
              <p:nvPr/>
            </p:nvSpPr>
            <p:spPr bwMode="auto">
              <a:xfrm>
                <a:off x="4832305" y="3644375"/>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0D14A3DB-FED9-4469-AD91-C64B2356582A}"/>
                  </a:ext>
                </a:extLst>
              </p:cNvPr>
              <p:cNvGrpSpPr/>
              <p:nvPr/>
            </p:nvGrpSpPr>
            <p:grpSpPr>
              <a:xfrm rot="16200000">
                <a:off x="4865538" y="3036307"/>
                <a:ext cx="206443" cy="115703"/>
                <a:chOff x="1868589" y="4574406"/>
                <a:chExt cx="2941313" cy="1648493"/>
              </a:xfrm>
              <a:solidFill>
                <a:schemeClr val="bg1"/>
              </a:solidFill>
            </p:grpSpPr>
            <p:sp>
              <p:nvSpPr>
                <p:cNvPr id="49" name="Freeform 52">
                  <a:extLst>
                    <a:ext uri="{FF2B5EF4-FFF2-40B4-BE49-F238E27FC236}">
                      <a16:creationId xmlns:a16="http://schemas.microsoft.com/office/drawing/2014/main" id="{294C21E4-9E69-40A1-ACF2-45A22D2DA67E}"/>
                    </a:ext>
                  </a:extLst>
                </p:cNvPr>
                <p:cNvSpPr/>
                <p:nvPr/>
              </p:nvSpPr>
              <p:spPr bwMode="auto">
                <a:xfrm rot="18900000">
                  <a:off x="3161414" y="4574406"/>
                  <a:ext cx="1648488"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0" name="Freeform 53">
                  <a:extLst>
                    <a:ext uri="{FF2B5EF4-FFF2-40B4-BE49-F238E27FC236}">
                      <a16:creationId xmlns:a16="http://schemas.microsoft.com/office/drawing/2014/main" id="{EAA52444-CD8F-4D62-9AF9-FB12F89C87E6}"/>
                    </a:ext>
                  </a:extLst>
                </p:cNvPr>
                <p:cNvSpPr/>
                <p:nvPr/>
              </p:nvSpPr>
              <p:spPr bwMode="auto">
                <a:xfrm rot="18900000">
                  <a:off x="1868589" y="4574406"/>
                  <a:ext cx="1648494"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47" name="Straight Connector 46">
                <a:extLst>
                  <a:ext uri="{FF2B5EF4-FFF2-40B4-BE49-F238E27FC236}">
                    <a16:creationId xmlns:a16="http://schemas.microsoft.com/office/drawing/2014/main" id="{A7488A82-9739-4FA2-84CF-D36317AFCE5E}"/>
                  </a:ext>
                </a:extLst>
              </p:cNvPr>
              <p:cNvCxnSpPr>
                <a:cxnSpLocks/>
              </p:cNvCxnSpPr>
              <p:nvPr/>
            </p:nvCxnSpPr>
            <p:spPr>
              <a:xfrm>
                <a:off x="4981033" y="2397667"/>
                <a:ext cx="0" cy="286056"/>
              </a:xfrm>
              <a:prstGeom prst="line">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C7C91F2A-D340-4679-B021-7BEAF86732CE}"/>
                  </a:ext>
                </a:extLst>
              </p:cNvPr>
              <p:cNvSpPr/>
              <p:nvPr/>
            </p:nvSpPr>
            <p:spPr bwMode="auto">
              <a:xfrm rot="10800000">
                <a:off x="4832305" y="2570195"/>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grpSp>
        <p:nvGrpSpPr>
          <p:cNvPr id="102" name="Group 101">
            <a:extLst>
              <a:ext uri="{FF2B5EF4-FFF2-40B4-BE49-F238E27FC236}">
                <a16:creationId xmlns:a16="http://schemas.microsoft.com/office/drawing/2014/main" id="{A08FFB5A-D4E1-4480-97A9-FD230D7F3DCE}"/>
              </a:ext>
            </a:extLst>
          </p:cNvPr>
          <p:cNvGrpSpPr/>
          <p:nvPr/>
        </p:nvGrpSpPr>
        <p:grpSpPr>
          <a:xfrm>
            <a:off x="4980587" y="1621658"/>
            <a:ext cx="2286000" cy="2286000"/>
            <a:chOff x="4923737" y="1645433"/>
            <a:chExt cx="2286000" cy="2286000"/>
          </a:xfrm>
        </p:grpSpPr>
        <p:sp>
          <p:nvSpPr>
            <p:cNvPr id="67" name="Rounded Rectangle 6">
              <a:extLst>
                <a:ext uri="{FF2B5EF4-FFF2-40B4-BE49-F238E27FC236}">
                  <a16:creationId xmlns:a16="http://schemas.microsoft.com/office/drawing/2014/main" id="{51BB9AD2-BC77-4A33-8AAD-6A024838B7FC}"/>
                </a:ext>
              </a:extLst>
            </p:cNvPr>
            <p:cNvSpPr/>
            <p:nvPr/>
          </p:nvSpPr>
          <p:spPr bwMode="auto">
            <a:xfrm>
              <a:off x="4923737" y="1645433"/>
              <a:ext cx="2286000" cy="228600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DDCFBF58-9CEA-4E64-B10D-9D9B636EAD1A}"/>
                </a:ext>
              </a:extLst>
            </p:cNvPr>
            <p:cNvGrpSpPr/>
            <p:nvPr/>
          </p:nvGrpSpPr>
          <p:grpSpPr>
            <a:xfrm>
              <a:off x="5101661" y="2009130"/>
              <a:ext cx="1755929" cy="1504394"/>
              <a:chOff x="6376436" y="3065834"/>
              <a:chExt cx="1596525" cy="1367825"/>
            </a:xfrm>
          </p:grpSpPr>
          <p:sp>
            <p:nvSpPr>
              <p:cNvPr id="69" name="Oval 68">
                <a:extLst>
                  <a:ext uri="{FF2B5EF4-FFF2-40B4-BE49-F238E27FC236}">
                    <a16:creationId xmlns:a16="http://schemas.microsoft.com/office/drawing/2014/main" id="{DEB1A235-EBF1-4EE5-934C-2C8147C2B9D6}"/>
                  </a:ext>
                </a:extLst>
              </p:cNvPr>
              <p:cNvSpPr/>
              <p:nvPr/>
            </p:nvSpPr>
            <p:spPr bwMode="auto">
              <a:xfrm>
                <a:off x="6376436" y="3802084"/>
                <a:ext cx="218308" cy="218308"/>
              </a:xfrm>
              <a:prstGeom prst="ellipse">
                <a:avLst/>
              </a:prstGeom>
              <a:solidFill>
                <a:srgbClr val="D83B0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2EF704F9-0449-4203-AFC5-B113468B2B63}"/>
                  </a:ext>
                </a:extLst>
              </p:cNvPr>
              <p:cNvSpPr/>
              <p:nvPr/>
            </p:nvSpPr>
            <p:spPr bwMode="auto">
              <a:xfrm>
                <a:off x="6906660" y="3802084"/>
                <a:ext cx="218308" cy="218308"/>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FAD5EF4-99B9-41EB-9A6E-5ACFD0CB2A68}"/>
                  </a:ext>
                </a:extLst>
              </p:cNvPr>
              <p:cNvSpPr/>
              <p:nvPr/>
            </p:nvSpPr>
            <p:spPr bwMode="auto">
              <a:xfrm>
                <a:off x="6641548" y="3356916"/>
                <a:ext cx="218308" cy="218308"/>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610F0F84-2BDB-44EA-8087-F3BAA9E1D40F}"/>
                  </a:ext>
                </a:extLst>
              </p:cNvPr>
              <p:cNvSpPr/>
              <p:nvPr/>
            </p:nvSpPr>
            <p:spPr bwMode="auto">
              <a:xfrm>
                <a:off x="7171772" y="3356916"/>
                <a:ext cx="218308" cy="218308"/>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3" name="Arc 72">
                <a:extLst>
                  <a:ext uri="{FF2B5EF4-FFF2-40B4-BE49-F238E27FC236}">
                    <a16:creationId xmlns:a16="http://schemas.microsoft.com/office/drawing/2014/main" id="{60EFC589-08BC-4B79-958B-1951F6C746DD}"/>
                  </a:ext>
                </a:extLst>
              </p:cNvPr>
              <p:cNvSpPr/>
              <p:nvPr/>
            </p:nvSpPr>
            <p:spPr>
              <a:xfrm>
                <a:off x="6605136" y="3065834"/>
                <a:ext cx="1367825" cy="1367825"/>
              </a:xfrm>
              <a:prstGeom prst="arc">
                <a:avLst>
                  <a:gd name="adj1" fmla="val 603471"/>
                  <a:gd name="adj2" fmla="val 7823018"/>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Oval 73">
                <a:extLst>
                  <a:ext uri="{FF2B5EF4-FFF2-40B4-BE49-F238E27FC236}">
                    <a16:creationId xmlns:a16="http://schemas.microsoft.com/office/drawing/2014/main" id="{E30D4075-2647-4A1E-9E74-0BF259A3E710}"/>
                  </a:ext>
                </a:extLst>
              </p:cNvPr>
              <p:cNvSpPr/>
              <p:nvPr/>
            </p:nvSpPr>
            <p:spPr bwMode="auto">
              <a:xfrm>
                <a:off x="6743788" y="4164417"/>
                <a:ext cx="218308" cy="218308"/>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F8F69049-F130-4BF1-A49C-F6A94EEC3A75}"/>
                  </a:ext>
                </a:extLst>
              </p:cNvPr>
              <p:cNvGrpSpPr/>
              <p:nvPr/>
            </p:nvGrpSpPr>
            <p:grpSpPr>
              <a:xfrm rot="18738836">
                <a:off x="6631012" y="4051172"/>
                <a:ext cx="86901" cy="155052"/>
                <a:chOff x="4694563" y="3473163"/>
                <a:chExt cx="86901" cy="155052"/>
              </a:xfrm>
            </p:grpSpPr>
            <p:sp>
              <p:nvSpPr>
                <p:cNvPr id="76" name="Freeform 62">
                  <a:extLst>
                    <a:ext uri="{FF2B5EF4-FFF2-40B4-BE49-F238E27FC236}">
                      <a16:creationId xmlns:a16="http://schemas.microsoft.com/office/drawing/2014/main" id="{B9F825EA-74E4-4079-A86C-5F04C678A733}"/>
                    </a:ext>
                  </a:extLst>
                </p:cNvPr>
                <p:cNvSpPr/>
                <p:nvPr/>
              </p:nvSpPr>
              <p:spPr bwMode="auto">
                <a:xfrm rot="13500000">
                  <a:off x="4694563" y="3473163"/>
                  <a:ext cx="86900" cy="86900"/>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7" name="Freeform 63">
                  <a:extLst>
                    <a:ext uri="{FF2B5EF4-FFF2-40B4-BE49-F238E27FC236}">
                      <a16:creationId xmlns:a16="http://schemas.microsoft.com/office/drawing/2014/main" id="{62834316-AF50-4D6B-A3E7-FA12F32EE41C}"/>
                    </a:ext>
                  </a:extLst>
                </p:cNvPr>
                <p:cNvSpPr/>
                <p:nvPr/>
              </p:nvSpPr>
              <p:spPr bwMode="auto">
                <a:xfrm rot="13500000">
                  <a:off x="4694563" y="3541315"/>
                  <a:ext cx="86901" cy="86900"/>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grpSp>
      <p:grpSp>
        <p:nvGrpSpPr>
          <p:cNvPr id="91" name="Group 90">
            <a:extLst>
              <a:ext uri="{FF2B5EF4-FFF2-40B4-BE49-F238E27FC236}">
                <a16:creationId xmlns:a16="http://schemas.microsoft.com/office/drawing/2014/main" id="{54BEC5A2-784E-4F24-BBA1-47BC89206E4C}"/>
              </a:ext>
            </a:extLst>
          </p:cNvPr>
          <p:cNvGrpSpPr/>
          <p:nvPr/>
        </p:nvGrpSpPr>
        <p:grpSpPr>
          <a:xfrm>
            <a:off x="8383364" y="1621658"/>
            <a:ext cx="2286000" cy="2286000"/>
            <a:chOff x="7994806" y="1376830"/>
            <a:chExt cx="2286000" cy="2286000"/>
          </a:xfrm>
        </p:grpSpPr>
        <p:sp>
          <p:nvSpPr>
            <p:cNvPr id="92" name="Rounded Rectangle 7">
              <a:extLst>
                <a:ext uri="{FF2B5EF4-FFF2-40B4-BE49-F238E27FC236}">
                  <a16:creationId xmlns:a16="http://schemas.microsoft.com/office/drawing/2014/main" id="{E45C226F-8C0C-4E89-94FF-48AC24F51A63}"/>
                </a:ext>
              </a:extLst>
            </p:cNvPr>
            <p:cNvSpPr/>
            <p:nvPr/>
          </p:nvSpPr>
          <p:spPr bwMode="auto">
            <a:xfrm>
              <a:off x="7994806" y="1376830"/>
              <a:ext cx="2286000" cy="2286000"/>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87931CFF-74AA-4511-802D-4BD87DBDA723}"/>
                </a:ext>
              </a:extLst>
            </p:cNvPr>
            <p:cNvGrpSpPr/>
            <p:nvPr/>
          </p:nvGrpSpPr>
          <p:grpSpPr>
            <a:xfrm>
              <a:off x="8329189" y="1845484"/>
              <a:ext cx="1471515" cy="1367631"/>
              <a:chOff x="615411" y="2499380"/>
              <a:chExt cx="1959523" cy="1821187"/>
            </a:xfrm>
          </p:grpSpPr>
          <p:sp>
            <p:nvSpPr>
              <p:cNvPr id="94" name="Arc 93">
                <a:extLst>
                  <a:ext uri="{FF2B5EF4-FFF2-40B4-BE49-F238E27FC236}">
                    <a16:creationId xmlns:a16="http://schemas.microsoft.com/office/drawing/2014/main" id="{A59969B4-873C-4977-8F8E-D28C2215DBD1}"/>
                  </a:ext>
                </a:extLst>
              </p:cNvPr>
              <p:cNvSpPr/>
              <p:nvPr/>
            </p:nvSpPr>
            <p:spPr>
              <a:xfrm>
                <a:off x="753747" y="2499380"/>
                <a:ext cx="1821187" cy="1821187"/>
              </a:xfrm>
              <a:prstGeom prst="arc">
                <a:avLst>
                  <a:gd name="adj1" fmla="val 10872766"/>
                  <a:gd name="adj2" fmla="val 7941528"/>
                </a:avLst>
              </a:prstGeom>
              <a:ln w="2540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Oval 94">
                <a:extLst>
                  <a:ext uri="{FF2B5EF4-FFF2-40B4-BE49-F238E27FC236}">
                    <a16:creationId xmlns:a16="http://schemas.microsoft.com/office/drawing/2014/main" id="{7D18D8CC-259A-41B2-99FA-7617EFFDCB00}"/>
                  </a:ext>
                </a:extLst>
              </p:cNvPr>
              <p:cNvSpPr/>
              <p:nvPr/>
            </p:nvSpPr>
            <p:spPr bwMode="auto">
              <a:xfrm>
                <a:off x="1519007" y="3270350"/>
                <a:ext cx="290666" cy="29066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92889D65-9FCF-42D4-B14C-3A08FB2EF21D}"/>
                  </a:ext>
                </a:extLst>
              </p:cNvPr>
              <p:cNvSpPr/>
              <p:nvPr/>
            </p:nvSpPr>
            <p:spPr bwMode="auto">
              <a:xfrm>
                <a:off x="1938183" y="3270350"/>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97" name="Oval 96">
                <a:extLst>
                  <a:ext uri="{FF2B5EF4-FFF2-40B4-BE49-F238E27FC236}">
                    <a16:creationId xmlns:a16="http://schemas.microsoft.com/office/drawing/2014/main" id="{4EE9C728-9175-43E9-B7D1-FBB1A4D062F8}"/>
                  </a:ext>
                </a:extLst>
              </p:cNvPr>
              <p:cNvSpPr/>
              <p:nvPr/>
            </p:nvSpPr>
            <p:spPr bwMode="auto">
              <a:xfrm>
                <a:off x="1103684" y="3270350"/>
                <a:ext cx="290666" cy="290665"/>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98" name="Oval 97">
                <a:extLst>
                  <a:ext uri="{FF2B5EF4-FFF2-40B4-BE49-F238E27FC236}">
                    <a16:creationId xmlns:a16="http://schemas.microsoft.com/office/drawing/2014/main" id="{A35FF97B-2C41-48A4-ACB6-5EC9F6F5E63A}"/>
                  </a:ext>
                </a:extLst>
              </p:cNvPr>
              <p:cNvSpPr/>
              <p:nvPr/>
            </p:nvSpPr>
            <p:spPr bwMode="auto">
              <a:xfrm>
                <a:off x="615411" y="3270350"/>
                <a:ext cx="290666" cy="290665"/>
              </a:xfrm>
              <a:prstGeom prst="ellipse">
                <a:avLst/>
              </a:prstGeom>
              <a:solidFill>
                <a:schemeClr val="accent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99" name="Group 98">
                <a:extLst>
                  <a:ext uri="{FF2B5EF4-FFF2-40B4-BE49-F238E27FC236}">
                    <a16:creationId xmlns:a16="http://schemas.microsoft.com/office/drawing/2014/main" id="{C70F4D10-B833-4595-A966-DC07D744A324}"/>
                  </a:ext>
                </a:extLst>
              </p:cNvPr>
              <p:cNvGrpSpPr/>
              <p:nvPr/>
            </p:nvGrpSpPr>
            <p:grpSpPr>
              <a:xfrm rot="4049148">
                <a:off x="736711" y="3620191"/>
                <a:ext cx="206443" cy="115703"/>
                <a:chOff x="1868589" y="4574406"/>
                <a:chExt cx="2941313" cy="1648493"/>
              </a:xfrm>
              <a:solidFill>
                <a:schemeClr val="bg1"/>
              </a:solidFill>
            </p:grpSpPr>
            <p:sp>
              <p:nvSpPr>
                <p:cNvPr id="100" name="Freeform 38">
                  <a:extLst>
                    <a:ext uri="{FF2B5EF4-FFF2-40B4-BE49-F238E27FC236}">
                      <a16:creationId xmlns:a16="http://schemas.microsoft.com/office/drawing/2014/main" id="{BDD55EBE-CB42-4859-AEF8-775CB614B05A}"/>
                    </a:ext>
                  </a:extLst>
                </p:cNvPr>
                <p:cNvSpPr/>
                <p:nvPr/>
              </p:nvSpPr>
              <p:spPr bwMode="auto">
                <a:xfrm rot="18900000">
                  <a:off x="3161414" y="4574406"/>
                  <a:ext cx="1648488"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1" name="Freeform 39">
                  <a:extLst>
                    <a:ext uri="{FF2B5EF4-FFF2-40B4-BE49-F238E27FC236}">
                      <a16:creationId xmlns:a16="http://schemas.microsoft.com/office/drawing/2014/main" id="{8BC8C23B-8F0A-47A4-AD73-18FCFDDF2C11}"/>
                    </a:ext>
                  </a:extLst>
                </p:cNvPr>
                <p:cNvSpPr/>
                <p:nvPr/>
              </p:nvSpPr>
              <p:spPr bwMode="auto">
                <a:xfrm rot="18900000">
                  <a:off x="1868589" y="4574406"/>
                  <a:ext cx="1648494" cy="164849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grpSp>
      <p:sp>
        <p:nvSpPr>
          <p:cNvPr id="8" name="TextBox 7">
            <a:extLst>
              <a:ext uri="{FF2B5EF4-FFF2-40B4-BE49-F238E27FC236}">
                <a16:creationId xmlns:a16="http://schemas.microsoft.com/office/drawing/2014/main" id="{4BD9AD5B-0092-212C-1A94-1CBE8544C3B8}"/>
              </a:ext>
            </a:extLst>
          </p:cNvPr>
          <p:cNvSpPr txBox="1"/>
          <p:nvPr/>
        </p:nvSpPr>
        <p:spPr>
          <a:xfrm>
            <a:off x="1622842" y="4085607"/>
            <a:ext cx="2601803" cy="126188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t>Understand &amp; </a:t>
            </a:r>
            <a:b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br>
            <a:r>
              <a:rPr kumimoji="0" lang="en-US" sz="2000" b="0" i="0" u="none" strike="noStrike" kern="1200" cap="none" spc="0" normalizeH="0" baseline="0" noProof="0" dirty="0">
                <a:ln>
                  <a:noFill/>
                </a:ln>
                <a:solidFill>
                  <a:srgbClr val="000000"/>
                </a:solidFill>
                <a:effectLst/>
                <a:uLnTx/>
                <a:uFillTx/>
                <a:latin typeface="Segoe Sans Text Semilight"/>
                <a:ea typeface="+mn-ea"/>
                <a:cs typeface="+mn-cs"/>
              </a:rPr>
              <a:t>govern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t>Manage visibility and governance of </a:t>
            </a:r>
            <a:b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br>
            <a:r>
              <a:rPr kumimoji="0" lang="en-US" sz="1200" b="0" i="0" u="none" strike="noStrike" kern="1200" cap="none" spc="0" normalizeH="0" baseline="0" noProof="0" dirty="0">
                <a:ln>
                  <a:noFill/>
                </a:ln>
                <a:solidFill>
                  <a:srgbClr val="000000"/>
                </a:solidFill>
                <a:effectLst/>
                <a:uLnTx/>
                <a:uFillTx/>
                <a:latin typeface="Segoe Sans Text Semilight"/>
                <a:ea typeface="+mn-ea"/>
                <a:cs typeface="+mn-cs"/>
              </a:rPr>
              <a:t>data assets across your environm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DK" sz="1100" b="0" i="0" u="none" strike="noStrike" kern="1200" cap="none" spc="0" normalizeH="0" baseline="0" noProof="0">
              <a:ln>
                <a:noFill/>
              </a:ln>
              <a:solidFill>
                <a:srgbClr val="225B61"/>
              </a:solidFill>
              <a:effectLst/>
              <a:uLnTx/>
              <a:uFillTx/>
              <a:latin typeface="Segoe Sans Text Semilight"/>
              <a:ea typeface="+mn-ea"/>
              <a:cs typeface="+mn-cs"/>
            </a:endParaRPr>
          </a:p>
        </p:txBody>
      </p:sp>
    </p:spTree>
    <p:extLst>
      <p:ext uri="{BB962C8B-B14F-4D97-AF65-F5344CB8AC3E}">
        <p14:creationId xmlns:p14="http://schemas.microsoft.com/office/powerpoint/2010/main" val="34527176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4" presetClass="path" presetSubtype="0" accel="50000" decel="50000" fill="hold" nodeType="withEffect">
                                  <p:stCondLst>
                                    <p:cond delay="0"/>
                                  </p:stCondLst>
                                  <p:childTnLst>
                                    <p:animMotion origin="layout" path="M 2.91667E-6 0.02199 L 2.91667E-6 -7.40741E-7 " pathEditMode="relative" rAng="0" ptsTypes="AA">
                                      <p:cBhvr>
                                        <p:cTn id="9" dur="750" fill="hold"/>
                                        <p:tgtEl>
                                          <p:spTgt spid="33"/>
                                        </p:tgtEl>
                                        <p:attrNameLst>
                                          <p:attrName>ppt_x</p:attrName>
                                          <p:attrName>ppt_y</p:attrName>
                                        </p:attrNameLst>
                                      </p:cBhvr>
                                      <p:rCtr x="0" y="-1111"/>
                                    </p:animMotion>
                                  </p:childTnLst>
                                </p:cTn>
                              </p:par>
                              <p:par>
                                <p:cTn id="10" presetID="10" presetClass="entr" presetSubtype="0" fill="hold" nodeType="withEffect">
                                  <p:stCondLst>
                                    <p:cond delay="500"/>
                                  </p:stCondLst>
                                  <p:childTnLst>
                                    <p:set>
                                      <p:cBhvr>
                                        <p:cTn id="11" dur="1" fill="hold">
                                          <p:stCondLst>
                                            <p:cond delay="0"/>
                                          </p:stCondLst>
                                        </p:cTn>
                                        <p:tgtEl>
                                          <p:spTgt spid="102"/>
                                        </p:tgtEl>
                                        <p:attrNameLst>
                                          <p:attrName>style.visibility</p:attrName>
                                        </p:attrNameLst>
                                      </p:cBhvr>
                                      <p:to>
                                        <p:strVal val="visible"/>
                                      </p:to>
                                    </p:set>
                                    <p:animEffect transition="in" filter="fade">
                                      <p:cBhvr>
                                        <p:cTn id="12" dur="500"/>
                                        <p:tgtEl>
                                          <p:spTgt spid="102"/>
                                        </p:tgtEl>
                                      </p:cBhvr>
                                    </p:animEffect>
                                  </p:childTnLst>
                                </p:cTn>
                              </p:par>
                              <p:par>
                                <p:cTn id="13" presetID="64" presetClass="path" presetSubtype="0" accel="50000" decel="50000" fill="hold" nodeType="withEffect">
                                  <p:stCondLst>
                                    <p:cond delay="500"/>
                                  </p:stCondLst>
                                  <p:childTnLst>
                                    <p:animMotion origin="layout" path="M -3.54167E-6 0.02199 L -3.54167E-6 -7.40741E-7 " pathEditMode="relative" rAng="0" ptsTypes="AA">
                                      <p:cBhvr>
                                        <p:cTn id="14" dur="750" fill="hold"/>
                                        <p:tgtEl>
                                          <p:spTgt spid="102"/>
                                        </p:tgtEl>
                                        <p:attrNameLst>
                                          <p:attrName>ppt_x</p:attrName>
                                          <p:attrName>ppt_y</p:attrName>
                                        </p:attrNameLst>
                                      </p:cBhvr>
                                      <p:rCtr x="0" y="-1111"/>
                                    </p:animMotion>
                                  </p:childTnLst>
                                </p:cTn>
                              </p:par>
                              <p:par>
                                <p:cTn id="15" presetID="10" presetClass="entr" presetSubtype="0" fill="hold" nodeType="withEffect">
                                  <p:stCondLst>
                                    <p:cond delay="1000"/>
                                  </p:stCondLst>
                                  <p:childTnLst>
                                    <p:set>
                                      <p:cBhvr>
                                        <p:cTn id="16" dur="1" fill="hold">
                                          <p:stCondLst>
                                            <p:cond delay="0"/>
                                          </p:stCondLst>
                                        </p:cTn>
                                        <p:tgtEl>
                                          <p:spTgt spid="91"/>
                                        </p:tgtEl>
                                        <p:attrNameLst>
                                          <p:attrName>style.visibility</p:attrName>
                                        </p:attrNameLst>
                                      </p:cBhvr>
                                      <p:to>
                                        <p:strVal val="visible"/>
                                      </p:to>
                                    </p:set>
                                    <p:animEffect transition="in" filter="fade">
                                      <p:cBhvr>
                                        <p:cTn id="17" dur="500"/>
                                        <p:tgtEl>
                                          <p:spTgt spid="91"/>
                                        </p:tgtEl>
                                      </p:cBhvr>
                                    </p:animEffect>
                                  </p:childTnLst>
                                </p:cTn>
                              </p:par>
                              <p:par>
                                <p:cTn id="18" presetID="64" presetClass="path" presetSubtype="0" accel="50000" decel="50000" fill="hold" nodeType="withEffect">
                                  <p:stCondLst>
                                    <p:cond delay="1000"/>
                                  </p:stCondLst>
                                  <p:childTnLst>
                                    <p:animMotion origin="layout" path="M -2.08333E-7 0.02199 L -2.08333E-7 -7.40741E-7 " pathEditMode="relative" rAng="0" ptsTypes="AA">
                                      <p:cBhvr>
                                        <p:cTn id="19" dur="750" fill="hold"/>
                                        <p:tgtEl>
                                          <p:spTgt spid="91"/>
                                        </p:tgtEl>
                                        <p:attrNameLst>
                                          <p:attrName>ppt_x</p:attrName>
                                          <p:attrName>ppt_y</p:attrName>
                                        </p:attrNameLst>
                                      </p:cBhvr>
                                      <p:rCtr x="0" y="-1111"/>
                                    </p:animMotion>
                                  </p:childTnLst>
                                </p:cTn>
                              </p:par>
                            </p:childTnLst>
                          </p:cTn>
                        </p:par>
                        <p:par>
                          <p:cTn id="20" fill="hold">
                            <p:stCondLst>
                              <p:cond delay="1750"/>
                            </p:stCondLst>
                            <p:childTnLst>
                              <p:par>
                                <p:cTn id="21" presetID="1"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0" presetClass="entr" presetSubtype="0" fill="hold" grpId="0" nodeType="withEffect">
                                  <p:stCondLst>
                                    <p:cond delay="1000"/>
                                  </p:stCondLst>
                                  <p:childTnLst>
                                    <p:set>
                                      <p:cBhvr>
                                        <p:cTn id="24" dur="1" fill="hold">
                                          <p:stCondLst>
                                            <p:cond delay="0"/>
                                          </p:stCondLst>
                                        </p:cTn>
                                        <p:tgtEl>
                                          <p:spTgt spid="10">
                                            <p:txEl>
                                              <p:pRg st="0" end="0"/>
                                            </p:txEl>
                                          </p:spTgt>
                                        </p:tgtEl>
                                        <p:attrNameLst>
                                          <p:attrName>style.visibility</p:attrName>
                                        </p:attrNameLst>
                                      </p:cBhvr>
                                      <p:to>
                                        <p:strVal val="visible"/>
                                      </p:to>
                                    </p:set>
                                    <p:animEffect transition="in" filter="fade">
                                      <p:cBhvr>
                                        <p:cTn id="25" dur="500"/>
                                        <p:tgtEl>
                                          <p:spTgt spid="10">
                                            <p:txEl>
                                              <p:pRg st="0" end="0"/>
                                            </p:txEl>
                                          </p:spTgt>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0">
                                            <p:txEl>
                                              <p:pRg st="1" end="1"/>
                                            </p:txEl>
                                          </p:spTgt>
                                        </p:tgtEl>
                                        <p:attrNameLst>
                                          <p:attrName>style.visibility</p:attrName>
                                        </p:attrNameLst>
                                      </p:cBhvr>
                                      <p:to>
                                        <p:strVal val="visible"/>
                                      </p:to>
                                    </p:set>
                                    <p:animEffect transition="in" filter="fade">
                                      <p:cBhvr>
                                        <p:cTn id="28" dur="500"/>
                                        <p:tgtEl>
                                          <p:spTgt spid="10">
                                            <p:txEl>
                                              <p:pRg st="1" end="1"/>
                                            </p:txEl>
                                          </p:spTgt>
                                        </p:tgtEl>
                                      </p:cBhvr>
                                    </p:animEffect>
                                  </p:childTnLst>
                                </p:cTn>
                              </p:par>
                              <p:par>
                                <p:cTn id="29" presetID="64" presetClass="path" presetSubtype="0" accel="50000" decel="50000" fill="hold" grpId="1" nodeType="withEffect">
                                  <p:stCondLst>
                                    <p:cond delay="1000"/>
                                  </p:stCondLst>
                                  <p:childTnLst>
                                    <p:animMotion origin="layout" path="M 3.95833E-6 0.02199 L 3.95833E-6 -2.22222E-6 " pathEditMode="relative" rAng="0" ptsTypes="AA">
                                      <p:cBhvr>
                                        <p:cTn id="30" dur="750" fill="hold"/>
                                        <p:tgtEl>
                                          <p:spTgt spid="10">
                                            <p:txEl>
                                              <p:pRg st="0" end="0"/>
                                            </p:txEl>
                                          </p:spTgt>
                                        </p:tgtEl>
                                        <p:attrNameLst>
                                          <p:attrName>ppt_x</p:attrName>
                                          <p:attrName>ppt_y</p:attrName>
                                        </p:attrNameLst>
                                      </p:cBhvr>
                                      <p:rCtr x="0" y="-1111"/>
                                    </p:animMotion>
                                  </p:childTnLst>
                                </p:cTn>
                              </p:par>
                              <p:par>
                                <p:cTn id="31" presetID="64" presetClass="path" presetSubtype="0" accel="50000" decel="50000" fill="hold" grpId="1" nodeType="withEffect">
                                  <p:stCondLst>
                                    <p:cond delay="1000"/>
                                  </p:stCondLst>
                                  <p:childTnLst>
                                    <p:animMotion origin="layout" path="M -1.875E-6 0.02199 L -1.875E-6 -1.85185E-6 " pathEditMode="relative" rAng="0" ptsTypes="AA">
                                      <p:cBhvr>
                                        <p:cTn id="32" dur="750" fill="hold"/>
                                        <p:tgtEl>
                                          <p:spTgt spid="10">
                                            <p:txEl>
                                              <p:pRg st="1" end="1"/>
                                            </p:txEl>
                                          </p:spTgt>
                                        </p:tgtEl>
                                        <p:attrNameLst>
                                          <p:attrName>ppt_x</p:attrName>
                                          <p:attrName>ppt_y</p:attrName>
                                        </p:attrNameLst>
                                      </p:cBhvr>
                                      <p:rCtr x="0" y="-1111"/>
                                    </p:animMotion>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9">
                                            <p:txEl>
                                              <p:pRg st="0" end="0"/>
                                            </p:txEl>
                                          </p:spTgt>
                                        </p:tgtEl>
                                        <p:attrNameLst>
                                          <p:attrName>style.visibility</p:attrName>
                                        </p:attrNameLst>
                                      </p:cBhvr>
                                      <p:to>
                                        <p:strVal val="visible"/>
                                      </p:to>
                                    </p:set>
                                    <p:animEffect transition="in" filter="fade">
                                      <p:cBhvr>
                                        <p:cTn id="36" dur="500"/>
                                        <p:tgtEl>
                                          <p:spTgt spid="9">
                                            <p:txEl>
                                              <p:pRg st="0" end="0"/>
                                            </p:txEl>
                                          </p:spTgt>
                                        </p:tgtEl>
                                      </p:cBhvr>
                                    </p:animEffect>
                                  </p:childTnLst>
                                </p:cTn>
                              </p:par>
                            </p:childTnLst>
                          </p:cTn>
                        </p:par>
                        <p:par>
                          <p:cTn id="37" fill="hold">
                            <p:stCondLst>
                              <p:cond delay="4000"/>
                            </p:stCondLst>
                            <p:childTnLst>
                              <p:par>
                                <p:cTn id="38" presetID="10" presetClass="entr" presetSubtype="0" fill="hold" grpId="0" nodeType="afterEffect">
                                  <p:stCondLst>
                                    <p:cond delay="0"/>
                                  </p:stCondLst>
                                  <p:childTnLst>
                                    <p:set>
                                      <p:cBhvr>
                                        <p:cTn id="39" dur="1" fill="hold">
                                          <p:stCondLst>
                                            <p:cond delay="0"/>
                                          </p:stCondLst>
                                        </p:cTn>
                                        <p:tgtEl>
                                          <p:spTgt spid="9">
                                            <p:txEl>
                                              <p:pRg st="1" end="1"/>
                                            </p:txEl>
                                          </p:spTgt>
                                        </p:tgtEl>
                                        <p:attrNameLst>
                                          <p:attrName>style.visibility</p:attrName>
                                        </p:attrNameLst>
                                      </p:cBhvr>
                                      <p:to>
                                        <p:strVal val="visible"/>
                                      </p:to>
                                    </p:set>
                                    <p:animEffect transition="in" filter="fade">
                                      <p:cBhvr>
                                        <p:cTn id="40" dur="500"/>
                                        <p:tgtEl>
                                          <p:spTgt spid="9">
                                            <p:txEl>
                                              <p:pRg st="1" end="1"/>
                                            </p:txEl>
                                          </p:spTgt>
                                        </p:tgtEl>
                                      </p:cBhvr>
                                    </p:animEffect>
                                  </p:childTnLst>
                                </p:cTn>
                              </p:par>
                              <p:par>
                                <p:cTn id="41" presetID="64" presetClass="path" presetSubtype="0" accel="50000" decel="50000" fill="hold" grpId="1" nodeType="withEffect">
                                  <p:stCondLst>
                                    <p:cond delay="1000"/>
                                  </p:stCondLst>
                                  <p:childTnLst>
                                    <p:animMotion origin="layout" path="M -1.04167E-6 0.02199 L -1.04167E-6 -1.11111E-6 " pathEditMode="relative" rAng="0" ptsTypes="AA">
                                      <p:cBhvr>
                                        <p:cTn id="42" dur="750" fill="hold"/>
                                        <p:tgtEl>
                                          <p:spTgt spid="9">
                                            <p:txEl>
                                              <p:pRg st="0" end="0"/>
                                            </p:txEl>
                                          </p:spTgt>
                                        </p:tgtEl>
                                        <p:attrNameLst>
                                          <p:attrName>ppt_x</p:attrName>
                                          <p:attrName>ppt_y</p:attrName>
                                        </p:attrNameLst>
                                      </p:cBhvr>
                                      <p:rCtr x="0" y="-1111"/>
                                    </p:animMotion>
                                  </p:childTnLst>
                                </p:cTn>
                              </p:par>
                              <p:par>
                                <p:cTn id="43" presetID="64" presetClass="path" presetSubtype="0" accel="50000" decel="50000" fill="hold" grpId="1" nodeType="withEffect">
                                  <p:stCondLst>
                                    <p:cond delay="1000"/>
                                  </p:stCondLst>
                                  <p:childTnLst>
                                    <p:animMotion origin="layout" path="M -1.25E-6 0.02199 L -1.25E-6 -7.40741E-7 " pathEditMode="relative" rAng="0" ptsTypes="AA">
                                      <p:cBhvr>
                                        <p:cTn id="44" dur="750" fill="hold"/>
                                        <p:tgtEl>
                                          <p:spTgt spid="9">
                                            <p:txEl>
                                              <p:pRg st="1" end="1"/>
                                            </p:txEl>
                                          </p:spTgt>
                                        </p:tgtEl>
                                        <p:attrNameLst>
                                          <p:attrName>ppt_x</p:attrName>
                                          <p:attrName>ppt_y</p:attrName>
                                        </p:attrNameLst>
                                      </p:cBhvr>
                                      <p:rCtr x="0" y="-1111"/>
                                    </p:animMotion>
                                  </p:childTnLst>
                                </p:cTn>
                              </p:par>
                            </p:childTnLst>
                          </p:cTn>
                        </p:par>
                        <p:par>
                          <p:cTn id="45" fill="hold">
                            <p:stCondLst>
                              <p:cond delay="5750"/>
                            </p:stCondLst>
                            <p:childTnLst>
                              <p:par>
                                <p:cTn id="46" presetID="16" presetClass="entr" presetSubtype="37" fill="hold" grpId="0" nodeType="afterEffect">
                                  <p:stCondLst>
                                    <p:cond delay="500"/>
                                  </p:stCondLst>
                                  <p:childTnLst>
                                    <p:set>
                                      <p:cBhvr>
                                        <p:cTn id="47" dur="1" fill="hold">
                                          <p:stCondLst>
                                            <p:cond delay="0"/>
                                          </p:stCondLst>
                                        </p:cTn>
                                        <p:tgtEl>
                                          <p:spTgt spid="22"/>
                                        </p:tgtEl>
                                        <p:attrNameLst>
                                          <p:attrName>style.visibility</p:attrName>
                                        </p:attrNameLst>
                                      </p:cBhvr>
                                      <p:to>
                                        <p:strVal val="visible"/>
                                      </p:to>
                                    </p:set>
                                    <p:animEffect transition="in" filter="barn(outVertical)">
                                      <p:cBhvr>
                                        <p:cTn id="48" dur="500"/>
                                        <p:tgtEl>
                                          <p:spTgt spid="22"/>
                                        </p:tgtEl>
                                      </p:cBhvr>
                                    </p:animEffect>
                                  </p:childTnLst>
                                </p:cTn>
                              </p:par>
                            </p:childTnLst>
                          </p:cTn>
                        </p:par>
                        <p:par>
                          <p:cTn id="49" fill="hold">
                            <p:stCondLst>
                              <p:cond delay="6750"/>
                            </p:stCondLst>
                            <p:childTnLst>
                              <p:par>
                                <p:cTn id="50" presetID="22" presetClass="entr" presetSubtype="8" fill="hold"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350"/>
                                        <p:tgtEl>
                                          <p:spTgt spid="24"/>
                                        </p:tgtEl>
                                      </p:cBhvr>
                                    </p:animEffect>
                                  </p:childTnLst>
                                </p:cTn>
                              </p:par>
                              <p:par>
                                <p:cTn id="53" presetID="22" presetClass="entr" presetSubtype="2" fill="hold" nodeType="with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wipe(right)">
                                      <p:cBhvr>
                                        <p:cTn id="55" dur="3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9" grpId="1" build="p"/>
      <p:bldP spid="10" grpId="0" build="p"/>
      <p:bldP spid="10" grpId="1" uiExpand="1" build="p"/>
      <p:bldP spid="22"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03F19-9B1F-3EC9-69B2-9779503058D5}"/>
            </a:ext>
          </a:extLst>
        </p:cNvPr>
        <p:cNvGrpSpPr/>
        <p:nvPr/>
      </p:nvGrpSpPr>
      <p:grpSpPr>
        <a:xfrm>
          <a:off x="0" y="0"/>
          <a:ext cx="0" cy="0"/>
          <a:chOff x="0" y="0"/>
          <a:chExt cx="0" cy="0"/>
        </a:xfrm>
      </p:grpSpPr>
      <p:sp>
        <p:nvSpPr>
          <p:cNvPr id="26" name="Graphic 309">
            <a:extLst>
              <a:ext uri="{FF2B5EF4-FFF2-40B4-BE49-F238E27FC236}">
                <a16:creationId xmlns:a16="http://schemas.microsoft.com/office/drawing/2014/main" id="{2BFDE9C0-957F-5EB1-E8F2-C769EAF722C6}"/>
              </a:ext>
              <a:ext uri="{C183D7F6-B498-43B3-948B-1728B52AA6E4}">
                <adec:decorative xmlns:adec="http://schemas.microsoft.com/office/drawing/2017/decorative" val="1"/>
              </a:ext>
            </a:extLst>
          </p:cNvPr>
          <p:cNvSpPr/>
          <p:nvPr/>
        </p:nvSpPr>
        <p:spPr>
          <a:xfrm>
            <a:off x="3179" y="1834954"/>
            <a:ext cx="12188821" cy="3687663"/>
          </a:xfrm>
          <a:custGeom>
            <a:avLst/>
            <a:gdLst>
              <a:gd name="connsiteX0" fmla="*/ 0 w 12188821"/>
              <a:gd name="connsiteY0" fmla="*/ 4005 h 1571928"/>
              <a:gd name="connsiteX1" fmla="*/ 131328 w 12188821"/>
              <a:gd name="connsiteY1" fmla="*/ 0 h 1571928"/>
              <a:gd name="connsiteX2" fmla="*/ 2423971 w 12188821"/>
              <a:gd name="connsiteY2" fmla="*/ 0 h 1571928"/>
              <a:gd name="connsiteX3" fmla="*/ 4445313 w 12188821"/>
              <a:gd name="connsiteY3" fmla="*/ 1389812 h 1571928"/>
              <a:gd name="connsiteX4" fmla="*/ 4710765 w 12188821"/>
              <a:gd name="connsiteY4" fmla="*/ 1571929 h 1571928"/>
              <a:gd name="connsiteX5" fmla="*/ 12188822 w 12188821"/>
              <a:gd name="connsiteY5" fmla="*/ 1571929 h 15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1" h="1571928">
                <a:moveTo>
                  <a:pt x="0" y="4005"/>
                </a:moveTo>
                <a:cubicBezTo>
                  <a:pt x="43479" y="1398"/>
                  <a:pt x="87213" y="0"/>
                  <a:pt x="131328" y="0"/>
                </a:cubicBezTo>
                <a:lnTo>
                  <a:pt x="2423971" y="0"/>
                </a:lnTo>
                <a:cubicBezTo>
                  <a:pt x="3342121" y="0"/>
                  <a:pt x="4131550" y="578961"/>
                  <a:pt x="4445313" y="1389812"/>
                </a:cubicBezTo>
                <a:cubicBezTo>
                  <a:pt x="4487775" y="1499527"/>
                  <a:pt x="4593104" y="1571929"/>
                  <a:pt x="4710765" y="1571929"/>
                </a:cubicBezTo>
                <a:lnTo>
                  <a:pt x="12188822" y="1571929"/>
                </a:lnTo>
              </a:path>
            </a:pathLst>
          </a:custGeom>
          <a:no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319" name="Freeform: Shape 318">
            <a:extLst>
              <a:ext uri="{FF2B5EF4-FFF2-40B4-BE49-F238E27FC236}">
                <a16:creationId xmlns:a16="http://schemas.microsoft.com/office/drawing/2014/main" id="{73502900-0571-40F6-2334-E5ABADA38557}"/>
              </a:ext>
              <a:ext uri="{C183D7F6-B498-43B3-948B-1728B52AA6E4}">
                <adec:decorative xmlns:adec="http://schemas.microsoft.com/office/drawing/2017/decorative" val="1"/>
              </a:ext>
            </a:extLst>
          </p:cNvPr>
          <p:cNvSpPr/>
          <p:nvPr/>
        </p:nvSpPr>
        <p:spPr bwMode="auto">
          <a:xfrm>
            <a:off x="1" y="2017712"/>
            <a:ext cx="4407243" cy="3968940"/>
          </a:xfrm>
          <a:custGeom>
            <a:avLst/>
            <a:gdLst>
              <a:gd name="connsiteX0" fmla="*/ 0 w 4407243"/>
              <a:gd name="connsiteY0" fmla="*/ 0 h 3968940"/>
              <a:gd name="connsiteX1" fmla="*/ 2422773 w 4407243"/>
              <a:gd name="connsiteY1" fmla="*/ 0 h 3968940"/>
              <a:gd name="connsiteX2" fmla="*/ 4407243 w 4407243"/>
              <a:gd name="connsiteY2" fmla="*/ 1984470 h 3968940"/>
              <a:gd name="connsiteX3" fmla="*/ 4407242 w 4407243"/>
              <a:gd name="connsiteY3" fmla="*/ 1984470 h 3968940"/>
              <a:gd name="connsiteX4" fmla="*/ 2422772 w 4407243"/>
              <a:gd name="connsiteY4" fmla="*/ 3968940 h 3968940"/>
              <a:gd name="connsiteX5" fmla="*/ 0 w 4407243"/>
              <a:gd name="connsiteY5" fmla="*/ 3968939 h 396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7243" h="3968940">
                <a:moveTo>
                  <a:pt x="0" y="0"/>
                </a:moveTo>
                <a:lnTo>
                  <a:pt x="2422773" y="0"/>
                </a:lnTo>
                <a:cubicBezTo>
                  <a:pt x="3518766" y="0"/>
                  <a:pt x="4407243" y="888477"/>
                  <a:pt x="4407243" y="1984470"/>
                </a:cubicBezTo>
                <a:lnTo>
                  <a:pt x="4407242" y="1984470"/>
                </a:lnTo>
                <a:cubicBezTo>
                  <a:pt x="4407242" y="3080463"/>
                  <a:pt x="3518765" y="3968940"/>
                  <a:pt x="2422772" y="3968940"/>
                </a:cubicBezTo>
                <a:lnTo>
                  <a:pt x="0" y="3968939"/>
                </a:lnTo>
                <a:close/>
              </a:path>
            </a:pathLst>
          </a:custGeom>
          <a:solidFill>
            <a:schemeClr val="tx2"/>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Sans Display Semibold"/>
              <a:ea typeface="+mn-ea"/>
              <a:cs typeface="Segoe UI" pitchFamily="34" charset="0"/>
            </a:endParaRPr>
          </a:p>
        </p:txBody>
      </p:sp>
      <p:sp>
        <p:nvSpPr>
          <p:cNvPr id="314" name="Graphic 312">
            <a:extLst>
              <a:ext uri="{FF2B5EF4-FFF2-40B4-BE49-F238E27FC236}">
                <a16:creationId xmlns:a16="http://schemas.microsoft.com/office/drawing/2014/main" id="{24BAFAC8-8DAE-55AB-99DD-354B783DB40B}"/>
              </a:ext>
              <a:ext uri="{C183D7F6-B498-43B3-948B-1728B52AA6E4}">
                <adec:decorative xmlns:adec="http://schemas.microsoft.com/office/drawing/2017/decorative" val="1"/>
              </a:ext>
            </a:extLst>
          </p:cNvPr>
          <p:cNvSpPr/>
          <p:nvPr/>
        </p:nvSpPr>
        <p:spPr>
          <a:xfrm>
            <a:off x="3178" y="0"/>
            <a:ext cx="12188758" cy="3424884"/>
          </a:xfrm>
          <a:custGeom>
            <a:avLst/>
            <a:gdLst>
              <a:gd name="connsiteX0" fmla="*/ 12188758 w 12188758"/>
              <a:gd name="connsiteY0" fmla="*/ 3424884 h 3424884"/>
              <a:gd name="connsiteX1" fmla="*/ 4710702 w 12188758"/>
              <a:gd name="connsiteY1" fmla="*/ 3424884 h 3424884"/>
              <a:gd name="connsiteX2" fmla="*/ 4445249 w 12188758"/>
              <a:gd name="connsiteY2" fmla="*/ 3242767 h 3424884"/>
              <a:gd name="connsiteX3" fmla="*/ 2423907 w 12188758"/>
              <a:gd name="connsiteY3" fmla="*/ 1852955 h 3424884"/>
              <a:gd name="connsiteX4" fmla="*/ 131328 w 12188758"/>
              <a:gd name="connsiteY4" fmla="*/ 1852955 h 3424884"/>
              <a:gd name="connsiteX5" fmla="*/ 0 w 12188758"/>
              <a:gd name="connsiteY5" fmla="*/ 1856960 h 3424884"/>
              <a:gd name="connsiteX6" fmla="*/ 0 w 12188758"/>
              <a:gd name="connsiteY6" fmla="*/ 0 h 3424884"/>
              <a:gd name="connsiteX7" fmla="*/ 12188758 w 12188758"/>
              <a:gd name="connsiteY7" fmla="*/ 0 h 3424884"/>
              <a:gd name="connsiteX8" fmla="*/ 12188758 w 12188758"/>
              <a:gd name="connsiteY8" fmla="*/ 3424884 h 342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8758" h="3424884">
                <a:moveTo>
                  <a:pt x="12188758" y="3424884"/>
                </a:moveTo>
                <a:lnTo>
                  <a:pt x="4710702" y="3424884"/>
                </a:lnTo>
                <a:cubicBezTo>
                  <a:pt x="4593104" y="3424884"/>
                  <a:pt x="4487711" y="3352483"/>
                  <a:pt x="4445249" y="3242767"/>
                </a:cubicBezTo>
                <a:cubicBezTo>
                  <a:pt x="4131486" y="2431917"/>
                  <a:pt x="3341994" y="1852955"/>
                  <a:pt x="2423907" y="1852955"/>
                </a:cubicBezTo>
                <a:lnTo>
                  <a:pt x="131328" y="1852955"/>
                </a:lnTo>
                <a:cubicBezTo>
                  <a:pt x="87276" y="1852955"/>
                  <a:pt x="43479" y="1854354"/>
                  <a:pt x="0" y="1856960"/>
                </a:cubicBezTo>
                <a:lnTo>
                  <a:pt x="0" y="0"/>
                </a:lnTo>
                <a:lnTo>
                  <a:pt x="12188758" y="0"/>
                </a:lnTo>
                <a:lnTo>
                  <a:pt x="12188758" y="3424884"/>
                </a:lnTo>
                <a:close/>
              </a:path>
            </a:pathLst>
          </a:custGeom>
          <a:gradFill>
            <a:gsLst>
              <a:gs pos="0">
                <a:srgbClr val="C3E5FF">
                  <a:alpha val="30497"/>
                </a:srgbClr>
              </a:gs>
              <a:gs pos="100000">
                <a:srgbClr val="FFFF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311" name="Graphic 309">
            <a:extLst>
              <a:ext uri="{FF2B5EF4-FFF2-40B4-BE49-F238E27FC236}">
                <a16:creationId xmlns:a16="http://schemas.microsoft.com/office/drawing/2014/main" id="{5F537757-C988-4E23-5F01-F892B62A1372}"/>
              </a:ext>
              <a:ext uri="{C183D7F6-B498-43B3-948B-1728B52AA6E4}">
                <adec:decorative xmlns:adec="http://schemas.microsoft.com/office/drawing/2017/decorative" val="1"/>
              </a:ext>
            </a:extLst>
          </p:cNvPr>
          <p:cNvSpPr/>
          <p:nvPr/>
        </p:nvSpPr>
        <p:spPr>
          <a:xfrm>
            <a:off x="190" y="1842945"/>
            <a:ext cx="12188821" cy="1571928"/>
          </a:xfrm>
          <a:custGeom>
            <a:avLst/>
            <a:gdLst>
              <a:gd name="connsiteX0" fmla="*/ 0 w 12188821"/>
              <a:gd name="connsiteY0" fmla="*/ 4005 h 1571928"/>
              <a:gd name="connsiteX1" fmla="*/ 131328 w 12188821"/>
              <a:gd name="connsiteY1" fmla="*/ 0 h 1571928"/>
              <a:gd name="connsiteX2" fmla="*/ 2423971 w 12188821"/>
              <a:gd name="connsiteY2" fmla="*/ 0 h 1571928"/>
              <a:gd name="connsiteX3" fmla="*/ 4445313 w 12188821"/>
              <a:gd name="connsiteY3" fmla="*/ 1389812 h 1571928"/>
              <a:gd name="connsiteX4" fmla="*/ 4710765 w 12188821"/>
              <a:gd name="connsiteY4" fmla="*/ 1571929 h 1571928"/>
              <a:gd name="connsiteX5" fmla="*/ 12188822 w 12188821"/>
              <a:gd name="connsiteY5" fmla="*/ 1571929 h 15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1" h="1571928">
                <a:moveTo>
                  <a:pt x="0" y="4005"/>
                </a:moveTo>
                <a:cubicBezTo>
                  <a:pt x="43479" y="1398"/>
                  <a:pt x="87213" y="0"/>
                  <a:pt x="131328" y="0"/>
                </a:cubicBezTo>
                <a:lnTo>
                  <a:pt x="2423971" y="0"/>
                </a:lnTo>
                <a:cubicBezTo>
                  <a:pt x="3342121" y="0"/>
                  <a:pt x="4131550" y="578961"/>
                  <a:pt x="4445313" y="1389812"/>
                </a:cubicBezTo>
                <a:cubicBezTo>
                  <a:pt x="4487775" y="1499527"/>
                  <a:pt x="4593104" y="1571929"/>
                  <a:pt x="4710765" y="1571929"/>
                </a:cubicBezTo>
                <a:lnTo>
                  <a:pt x="12188822" y="1571929"/>
                </a:lnTo>
              </a:path>
            </a:pathLst>
          </a:custGeom>
          <a:no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7" name="Title 16">
            <a:extLst>
              <a:ext uri="{FF2B5EF4-FFF2-40B4-BE49-F238E27FC236}">
                <a16:creationId xmlns:a16="http://schemas.microsoft.com/office/drawing/2014/main" id="{DC9591C5-4462-45E5-453C-8CD37EC9D71C}"/>
              </a:ext>
            </a:extLst>
          </p:cNvPr>
          <p:cNvSpPr>
            <a:spLocks noGrp="1"/>
          </p:cNvSpPr>
          <p:nvPr>
            <p:ph type="title" idx="4294967295"/>
          </p:nvPr>
        </p:nvSpPr>
        <p:spPr>
          <a:xfrm>
            <a:off x="1174750" y="457200"/>
            <a:ext cx="11017250" cy="554038"/>
          </a:xfrm>
        </p:spPr>
        <p:txBody>
          <a:bodyPr/>
          <a:lstStyle/>
          <a:p>
            <a:r>
              <a:rPr lang="en-US" dirty="0">
                <a:solidFill>
                  <a:schemeClr val="tx1"/>
                </a:solidFill>
              </a:rPr>
              <a:t>Why is data governance so hard for organizations?</a:t>
            </a:r>
          </a:p>
        </p:txBody>
      </p:sp>
      <p:sp>
        <p:nvSpPr>
          <p:cNvPr id="305" name="Oval 304">
            <a:extLst>
              <a:ext uri="{FF2B5EF4-FFF2-40B4-BE49-F238E27FC236}">
                <a16:creationId xmlns:a16="http://schemas.microsoft.com/office/drawing/2014/main" id="{171D83D3-55D6-A035-D576-0EB2D4D2E2D0}"/>
              </a:ext>
            </a:extLst>
          </p:cNvPr>
          <p:cNvSpPr/>
          <p:nvPr/>
        </p:nvSpPr>
        <p:spPr bwMode="auto">
          <a:xfrm>
            <a:off x="1297353" y="2859656"/>
            <a:ext cx="2225846" cy="2225844"/>
          </a:xfrm>
          <a:prstGeom prst="ellipse">
            <a:avLst/>
          </a:prstGeom>
          <a:solidFill>
            <a:schemeClr val="tx2">
              <a:lumMod val="50000"/>
            </a:schemeClr>
          </a:solidFill>
          <a:ln>
            <a:noFill/>
            <a:headEnd type="none" w="med" len="med"/>
            <a:tailEnd type="none" w="med" len="med"/>
          </a:ln>
          <a:effectLst>
            <a:outerShdw blurRad="190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27" name="Freeform: Shape 26">
            <a:extLst>
              <a:ext uri="{FF2B5EF4-FFF2-40B4-BE49-F238E27FC236}">
                <a16:creationId xmlns:a16="http://schemas.microsoft.com/office/drawing/2014/main" id="{25EE8B32-CEF6-96FA-A1B3-A84039E0C7BE}"/>
              </a:ext>
            </a:extLst>
          </p:cNvPr>
          <p:cNvSpPr/>
          <p:nvPr/>
        </p:nvSpPr>
        <p:spPr>
          <a:xfrm>
            <a:off x="1214392" y="4239211"/>
            <a:ext cx="548962" cy="767224"/>
          </a:xfrm>
          <a:custGeom>
            <a:avLst/>
            <a:gdLst>
              <a:gd name="connsiteX0" fmla="*/ 541958 w 548962"/>
              <a:gd name="connsiteY0" fmla="*/ 767224 h 767224"/>
              <a:gd name="connsiteX1" fmla="*/ 541866 w 548962"/>
              <a:gd name="connsiteY1" fmla="*/ 767169 h 767224"/>
              <a:gd name="connsiteX2" fmla="*/ 189729 w 548962"/>
              <a:gd name="connsiteY2" fmla="*/ 432055 h 767224"/>
              <a:gd name="connsiteX3" fmla="*/ 73796 w 548962"/>
              <a:gd name="connsiteY3" fmla="*/ 225854 h 767224"/>
              <a:gd name="connsiteX4" fmla="*/ 0 w 548962"/>
              <a:gd name="connsiteY4" fmla="*/ 2923 h 767224"/>
              <a:gd name="connsiteX5" fmla="*/ 12777 w 548962"/>
              <a:gd name="connsiteY5" fmla="*/ 0 h 767224"/>
              <a:gd name="connsiteX6" fmla="*/ 548779 w 548962"/>
              <a:gd name="connsiteY6" fmla="*/ 756046 h 767224"/>
              <a:gd name="connsiteX7" fmla="*/ 548963 w 548962"/>
              <a:gd name="connsiteY7" fmla="*/ 756157 h 767224"/>
              <a:gd name="connsiteX8" fmla="*/ 541940 w 548962"/>
              <a:gd name="connsiteY8" fmla="*/ 767224 h 76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962" h="767224">
                <a:moveTo>
                  <a:pt x="541958" y="767224"/>
                </a:moveTo>
                <a:lnTo>
                  <a:pt x="541866" y="767169"/>
                </a:lnTo>
                <a:cubicBezTo>
                  <a:pt x="401960" y="679162"/>
                  <a:pt x="283490" y="566428"/>
                  <a:pt x="189729" y="432055"/>
                </a:cubicBezTo>
                <a:cubicBezTo>
                  <a:pt x="144668" y="367489"/>
                  <a:pt x="105656" y="298105"/>
                  <a:pt x="73796" y="225854"/>
                </a:cubicBezTo>
                <a:cubicBezTo>
                  <a:pt x="42229" y="154283"/>
                  <a:pt x="17410" y="79293"/>
                  <a:pt x="0" y="2923"/>
                </a:cubicBezTo>
                <a:lnTo>
                  <a:pt x="12777" y="0"/>
                </a:lnTo>
                <a:cubicBezTo>
                  <a:pt x="84661" y="315332"/>
                  <a:pt x="275033" y="583838"/>
                  <a:pt x="548779" y="756046"/>
                </a:cubicBezTo>
                <a:lnTo>
                  <a:pt x="548963" y="756157"/>
                </a:lnTo>
                <a:lnTo>
                  <a:pt x="541940" y="767224"/>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1A053ED2-287F-40F0-91D8-51D256494EBF}"/>
              </a:ext>
            </a:extLst>
          </p:cNvPr>
          <p:cNvSpPr/>
          <p:nvPr/>
        </p:nvSpPr>
        <p:spPr>
          <a:xfrm>
            <a:off x="1366634" y="2740245"/>
            <a:ext cx="2271246" cy="1883864"/>
          </a:xfrm>
          <a:custGeom>
            <a:avLst/>
            <a:gdLst>
              <a:gd name="connsiteX0" fmla="*/ 2082658 w 2271246"/>
              <a:gd name="connsiteY0" fmla="*/ 1883865 h 1883864"/>
              <a:gd name="connsiteX1" fmla="*/ 2068796 w 2271246"/>
              <a:gd name="connsiteY1" fmla="*/ 1875150 h 1883864"/>
              <a:gd name="connsiteX2" fmla="*/ 2254884 w 2271246"/>
              <a:gd name="connsiteY2" fmla="*/ 1230882 h 1883864"/>
              <a:gd name="connsiteX3" fmla="*/ 1687518 w 2271246"/>
              <a:gd name="connsiteY3" fmla="*/ 202818 h 1883864"/>
              <a:gd name="connsiteX4" fmla="*/ 1042680 w 2271246"/>
              <a:gd name="connsiteY4" fmla="*/ 16362 h 1883864"/>
              <a:gd name="connsiteX5" fmla="*/ 14616 w 2271246"/>
              <a:gd name="connsiteY5" fmla="*/ 583728 h 1883864"/>
              <a:gd name="connsiteX6" fmla="*/ 13899 w 2271246"/>
              <a:gd name="connsiteY6" fmla="*/ 584868 h 1883864"/>
              <a:gd name="connsiteX7" fmla="*/ 0 w 2271246"/>
              <a:gd name="connsiteY7" fmla="*/ 576208 h 1883864"/>
              <a:gd name="connsiteX8" fmla="*/ 772 w 2271246"/>
              <a:gd name="connsiteY8" fmla="*/ 574977 h 1883864"/>
              <a:gd name="connsiteX9" fmla="*/ 456102 w 2271246"/>
              <a:gd name="connsiteY9" fmla="*/ 148216 h 1883864"/>
              <a:gd name="connsiteX10" fmla="*/ 1042680 w 2271246"/>
              <a:gd name="connsiteY10" fmla="*/ 0 h 1883864"/>
              <a:gd name="connsiteX11" fmla="*/ 1696233 w 2271246"/>
              <a:gd name="connsiteY11" fmla="*/ 188975 h 1883864"/>
              <a:gd name="connsiteX12" fmla="*/ 2123030 w 2271246"/>
              <a:gd name="connsiteY12" fmla="*/ 644323 h 1883864"/>
              <a:gd name="connsiteX13" fmla="*/ 2271246 w 2271246"/>
              <a:gd name="connsiteY13" fmla="*/ 1230901 h 1883864"/>
              <a:gd name="connsiteX14" fmla="*/ 2082658 w 2271246"/>
              <a:gd name="connsiteY14" fmla="*/ 1883865 h 188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1246" h="1883864">
                <a:moveTo>
                  <a:pt x="2082658" y="1883865"/>
                </a:moveTo>
                <a:lnTo>
                  <a:pt x="2068796" y="1875150"/>
                </a:lnTo>
                <a:cubicBezTo>
                  <a:pt x="2190538" y="1681395"/>
                  <a:pt x="2254884" y="1458612"/>
                  <a:pt x="2254884" y="1230882"/>
                </a:cubicBezTo>
                <a:cubicBezTo>
                  <a:pt x="2254884" y="810611"/>
                  <a:pt x="2042782" y="426301"/>
                  <a:pt x="1687518" y="202818"/>
                </a:cubicBezTo>
                <a:cubicBezTo>
                  <a:pt x="1493616" y="80837"/>
                  <a:pt x="1270649" y="16362"/>
                  <a:pt x="1042680" y="16362"/>
                </a:cubicBezTo>
                <a:cubicBezTo>
                  <a:pt x="622409" y="16362"/>
                  <a:pt x="238080" y="228465"/>
                  <a:pt x="14616" y="583728"/>
                </a:cubicBezTo>
                <a:lnTo>
                  <a:pt x="13899" y="584868"/>
                </a:lnTo>
                <a:lnTo>
                  <a:pt x="0" y="576208"/>
                </a:lnTo>
                <a:lnTo>
                  <a:pt x="772" y="574977"/>
                </a:lnTo>
                <a:cubicBezTo>
                  <a:pt x="113469" y="395819"/>
                  <a:pt x="270933" y="248228"/>
                  <a:pt x="456102" y="148216"/>
                </a:cubicBezTo>
                <a:cubicBezTo>
                  <a:pt x="635646" y="51256"/>
                  <a:pt x="838464" y="0"/>
                  <a:pt x="1042680" y="0"/>
                </a:cubicBezTo>
                <a:cubicBezTo>
                  <a:pt x="1273719" y="0"/>
                  <a:pt x="1499720" y="65339"/>
                  <a:pt x="1696233" y="188975"/>
                </a:cubicBezTo>
                <a:cubicBezTo>
                  <a:pt x="1875445" y="301690"/>
                  <a:pt x="2023018" y="459154"/>
                  <a:pt x="2123030" y="644323"/>
                </a:cubicBezTo>
                <a:cubicBezTo>
                  <a:pt x="2219990" y="823848"/>
                  <a:pt x="2271246" y="1026685"/>
                  <a:pt x="2271246" y="1230901"/>
                </a:cubicBezTo>
                <a:cubicBezTo>
                  <a:pt x="2271246" y="1461719"/>
                  <a:pt x="2206036" y="1687499"/>
                  <a:pt x="2082658" y="188386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E47BABFB-07FF-78FF-47FD-E818F4CB3698}"/>
              </a:ext>
            </a:extLst>
          </p:cNvPr>
          <p:cNvSpPr/>
          <p:nvPr/>
        </p:nvSpPr>
        <p:spPr>
          <a:xfrm>
            <a:off x="855507" y="2417358"/>
            <a:ext cx="3105279" cy="3105260"/>
          </a:xfrm>
          <a:custGeom>
            <a:avLst/>
            <a:gdLst>
              <a:gd name="connsiteX0" fmla="*/ 1553936 w 3105279"/>
              <a:gd name="connsiteY0" fmla="*/ 3105261 h 3105260"/>
              <a:gd name="connsiteX1" fmla="*/ 1548715 w 3105279"/>
              <a:gd name="connsiteY1" fmla="*/ 3105261 h 3105260"/>
              <a:gd name="connsiteX2" fmla="*/ 1548807 w 3105279"/>
              <a:gd name="connsiteY2" fmla="*/ 3076286 h 3105260"/>
              <a:gd name="connsiteX3" fmla="*/ 1553844 w 3105279"/>
              <a:gd name="connsiteY3" fmla="*/ 3076286 h 3105260"/>
              <a:gd name="connsiteX4" fmla="*/ 1554561 w 3105279"/>
              <a:gd name="connsiteY4" fmla="*/ 3076286 h 3105260"/>
              <a:gd name="connsiteX5" fmla="*/ 1554561 w 3105279"/>
              <a:gd name="connsiteY5" fmla="*/ 3105261 h 3105260"/>
              <a:gd name="connsiteX6" fmla="*/ 1553936 w 3105279"/>
              <a:gd name="connsiteY6" fmla="*/ 3105261 h 3105260"/>
              <a:gd name="connsiteX7" fmla="*/ 1569195 w 3105279"/>
              <a:gd name="connsiteY7" fmla="*/ 3105187 h 3105260"/>
              <a:gd name="connsiteX8" fmla="*/ 1568920 w 3105279"/>
              <a:gd name="connsiteY8" fmla="*/ 3076213 h 3105260"/>
              <a:gd name="connsiteX9" fmla="*/ 1574656 w 3105279"/>
              <a:gd name="connsiteY9" fmla="*/ 3076139 h 3105260"/>
              <a:gd name="connsiteX10" fmla="*/ 1575060 w 3105279"/>
              <a:gd name="connsiteY10" fmla="*/ 3105113 h 3105260"/>
              <a:gd name="connsiteX11" fmla="*/ 1569195 w 3105279"/>
              <a:gd name="connsiteY11" fmla="*/ 3105187 h 3105260"/>
              <a:gd name="connsiteX12" fmla="*/ 1534044 w 3105279"/>
              <a:gd name="connsiteY12" fmla="*/ 3105150 h 3105260"/>
              <a:gd name="connsiteX13" fmla="*/ 1528179 w 3105279"/>
              <a:gd name="connsiteY13" fmla="*/ 3105058 h 3105260"/>
              <a:gd name="connsiteX14" fmla="*/ 1528657 w 3105279"/>
              <a:gd name="connsiteY14" fmla="*/ 3076084 h 3105260"/>
              <a:gd name="connsiteX15" fmla="*/ 1534412 w 3105279"/>
              <a:gd name="connsiteY15" fmla="*/ 3076176 h 3105260"/>
              <a:gd name="connsiteX16" fmla="*/ 1534026 w 3105279"/>
              <a:gd name="connsiteY16" fmla="*/ 3105150 h 3105260"/>
              <a:gd name="connsiteX17" fmla="*/ 1589713 w 3105279"/>
              <a:gd name="connsiteY17" fmla="*/ 3104856 h 3105260"/>
              <a:gd name="connsiteX18" fmla="*/ 1589032 w 3105279"/>
              <a:gd name="connsiteY18" fmla="*/ 3075882 h 3105260"/>
              <a:gd name="connsiteX19" fmla="*/ 1594787 w 3105279"/>
              <a:gd name="connsiteY19" fmla="*/ 3075735 h 3105260"/>
              <a:gd name="connsiteX20" fmla="*/ 1595577 w 3105279"/>
              <a:gd name="connsiteY20" fmla="*/ 3104691 h 3105260"/>
              <a:gd name="connsiteX21" fmla="*/ 1589713 w 3105279"/>
              <a:gd name="connsiteY21" fmla="*/ 3104838 h 3105260"/>
              <a:gd name="connsiteX22" fmla="*/ 1513527 w 3105279"/>
              <a:gd name="connsiteY22" fmla="*/ 3104746 h 3105260"/>
              <a:gd name="connsiteX23" fmla="*/ 1507662 w 3105279"/>
              <a:gd name="connsiteY23" fmla="*/ 3104580 h 3105260"/>
              <a:gd name="connsiteX24" fmla="*/ 1508526 w 3105279"/>
              <a:gd name="connsiteY24" fmla="*/ 3075624 h 3105260"/>
              <a:gd name="connsiteX25" fmla="*/ 1514281 w 3105279"/>
              <a:gd name="connsiteY25" fmla="*/ 3075790 h 3105260"/>
              <a:gd name="connsiteX26" fmla="*/ 1513527 w 3105279"/>
              <a:gd name="connsiteY26" fmla="*/ 3104746 h 3105260"/>
              <a:gd name="connsiteX27" fmla="*/ 1610211 w 3105279"/>
              <a:gd name="connsiteY27" fmla="*/ 3104249 h 3105260"/>
              <a:gd name="connsiteX28" fmla="*/ 1609145 w 3105279"/>
              <a:gd name="connsiteY28" fmla="*/ 3075294 h 3105260"/>
              <a:gd name="connsiteX29" fmla="*/ 1614899 w 3105279"/>
              <a:gd name="connsiteY29" fmla="*/ 3075073 h 3105260"/>
              <a:gd name="connsiteX30" fmla="*/ 1616058 w 3105279"/>
              <a:gd name="connsiteY30" fmla="*/ 3104029 h 3105260"/>
              <a:gd name="connsiteX31" fmla="*/ 1610193 w 3105279"/>
              <a:gd name="connsiteY31" fmla="*/ 3104249 h 3105260"/>
              <a:gd name="connsiteX32" fmla="*/ 1493010 w 3105279"/>
              <a:gd name="connsiteY32" fmla="*/ 3104065 h 3105260"/>
              <a:gd name="connsiteX33" fmla="*/ 1487145 w 3105279"/>
              <a:gd name="connsiteY33" fmla="*/ 3103826 h 3105260"/>
              <a:gd name="connsiteX34" fmla="*/ 1488395 w 3105279"/>
              <a:gd name="connsiteY34" fmla="*/ 3074871 h 3105260"/>
              <a:gd name="connsiteX35" fmla="*/ 1494150 w 3105279"/>
              <a:gd name="connsiteY35" fmla="*/ 3075110 h 3105260"/>
              <a:gd name="connsiteX36" fmla="*/ 1493010 w 3105279"/>
              <a:gd name="connsiteY36" fmla="*/ 3104065 h 3105260"/>
              <a:gd name="connsiteX37" fmla="*/ 1630692 w 3105279"/>
              <a:gd name="connsiteY37" fmla="*/ 3103348 h 3105260"/>
              <a:gd name="connsiteX38" fmla="*/ 1629258 w 3105279"/>
              <a:gd name="connsiteY38" fmla="*/ 3074411 h 3105260"/>
              <a:gd name="connsiteX39" fmla="*/ 1635012 w 3105279"/>
              <a:gd name="connsiteY39" fmla="*/ 3074117 h 3105260"/>
              <a:gd name="connsiteX40" fmla="*/ 1636556 w 3105279"/>
              <a:gd name="connsiteY40" fmla="*/ 3103054 h 3105260"/>
              <a:gd name="connsiteX41" fmla="*/ 1630710 w 3105279"/>
              <a:gd name="connsiteY41" fmla="*/ 3103348 h 3105260"/>
              <a:gd name="connsiteX42" fmla="*/ 1472511 w 3105279"/>
              <a:gd name="connsiteY42" fmla="*/ 3103128 h 3105260"/>
              <a:gd name="connsiteX43" fmla="*/ 1466646 w 3105279"/>
              <a:gd name="connsiteY43" fmla="*/ 3102815 h 3105260"/>
              <a:gd name="connsiteX44" fmla="*/ 1468301 w 3105279"/>
              <a:gd name="connsiteY44" fmla="*/ 3073896 h 3105260"/>
              <a:gd name="connsiteX45" fmla="*/ 1474037 w 3105279"/>
              <a:gd name="connsiteY45" fmla="*/ 3074209 h 3105260"/>
              <a:gd name="connsiteX46" fmla="*/ 1472511 w 3105279"/>
              <a:gd name="connsiteY46" fmla="*/ 3103146 h 3105260"/>
              <a:gd name="connsiteX47" fmla="*/ 1651172 w 3105279"/>
              <a:gd name="connsiteY47" fmla="*/ 3102209 h 3105260"/>
              <a:gd name="connsiteX48" fmla="*/ 1649352 w 3105279"/>
              <a:gd name="connsiteY48" fmla="*/ 3073290 h 3105260"/>
              <a:gd name="connsiteX49" fmla="*/ 1655088 w 3105279"/>
              <a:gd name="connsiteY49" fmla="*/ 3072922 h 3105260"/>
              <a:gd name="connsiteX50" fmla="*/ 1657018 w 3105279"/>
              <a:gd name="connsiteY50" fmla="*/ 3101822 h 3105260"/>
              <a:gd name="connsiteX51" fmla="*/ 1651172 w 3105279"/>
              <a:gd name="connsiteY51" fmla="*/ 3102209 h 3105260"/>
              <a:gd name="connsiteX52" fmla="*/ 1452031 w 3105279"/>
              <a:gd name="connsiteY52" fmla="*/ 3101914 h 3105260"/>
              <a:gd name="connsiteX53" fmla="*/ 1446184 w 3105279"/>
              <a:gd name="connsiteY53" fmla="*/ 3101510 h 3105260"/>
              <a:gd name="connsiteX54" fmla="*/ 1448188 w 3105279"/>
              <a:gd name="connsiteY54" fmla="*/ 3072610 h 3105260"/>
              <a:gd name="connsiteX55" fmla="*/ 1453924 w 3105279"/>
              <a:gd name="connsiteY55" fmla="*/ 3072996 h 3105260"/>
              <a:gd name="connsiteX56" fmla="*/ 1452012 w 3105279"/>
              <a:gd name="connsiteY56" fmla="*/ 3101914 h 3105260"/>
              <a:gd name="connsiteX57" fmla="*/ 1671634 w 3105279"/>
              <a:gd name="connsiteY57" fmla="*/ 3100775 h 3105260"/>
              <a:gd name="connsiteX58" fmla="*/ 1669428 w 3105279"/>
              <a:gd name="connsiteY58" fmla="*/ 3071893 h 3105260"/>
              <a:gd name="connsiteX59" fmla="*/ 1675146 w 3105279"/>
              <a:gd name="connsiteY59" fmla="*/ 3071433 h 3105260"/>
              <a:gd name="connsiteX60" fmla="*/ 1677480 w 3105279"/>
              <a:gd name="connsiteY60" fmla="*/ 3100315 h 3105260"/>
              <a:gd name="connsiteX61" fmla="*/ 1671634 w 3105279"/>
              <a:gd name="connsiteY61" fmla="*/ 3100775 h 3105260"/>
              <a:gd name="connsiteX62" fmla="*/ 1431550 w 3105279"/>
              <a:gd name="connsiteY62" fmla="*/ 3100425 h 3105260"/>
              <a:gd name="connsiteX63" fmla="*/ 1425704 w 3105279"/>
              <a:gd name="connsiteY63" fmla="*/ 3099947 h 3105260"/>
              <a:gd name="connsiteX64" fmla="*/ 1428094 w 3105279"/>
              <a:gd name="connsiteY64" fmla="*/ 3071065 h 3105260"/>
              <a:gd name="connsiteX65" fmla="*/ 1433830 w 3105279"/>
              <a:gd name="connsiteY65" fmla="*/ 3071525 h 3105260"/>
              <a:gd name="connsiteX66" fmla="*/ 1431550 w 3105279"/>
              <a:gd name="connsiteY66" fmla="*/ 3100407 h 3105260"/>
              <a:gd name="connsiteX67" fmla="*/ 1692078 w 3105279"/>
              <a:gd name="connsiteY67" fmla="*/ 3099065 h 3105260"/>
              <a:gd name="connsiteX68" fmla="*/ 1689485 w 3105279"/>
              <a:gd name="connsiteY68" fmla="*/ 3070201 h 3105260"/>
              <a:gd name="connsiteX69" fmla="*/ 1695203 w 3105279"/>
              <a:gd name="connsiteY69" fmla="*/ 3069668 h 3105260"/>
              <a:gd name="connsiteX70" fmla="*/ 1697906 w 3105279"/>
              <a:gd name="connsiteY70" fmla="*/ 3098513 h 3105260"/>
              <a:gd name="connsiteX71" fmla="*/ 1692059 w 3105279"/>
              <a:gd name="connsiteY71" fmla="*/ 3099047 h 3105260"/>
              <a:gd name="connsiteX72" fmla="*/ 1411107 w 3105279"/>
              <a:gd name="connsiteY72" fmla="*/ 3098679 h 3105260"/>
              <a:gd name="connsiteX73" fmla="*/ 1405279 w 3105279"/>
              <a:gd name="connsiteY73" fmla="*/ 3098127 h 3105260"/>
              <a:gd name="connsiteX74" fmla="*/ 1408055 w 3105279"/>
              <a:gd name="connsiteY74" fmla="*/ 3069282 h 3105260"/>
              <a:gd name="connsiteX75" fmla="*/ 1413791 w 3105279"/>
              <a:gd name="connsiteY75" fmla="*/ 3069815 h 3105260"/>
              <a:gd name="connsiteX76" fmla="*/ 1411125 w 3105279"/>
              <a:gd name="connsiteY76" fmla="*/ 3098660 h 3105260"/>
              <a:gd name="connsiteX77" fmla="*/ 1712503 w 3105279"/>
              <a:gd name="connsiteY77" fmla="*/ 3097098 h 3105260"/>
              <a:gd name="connsiteX78" fmla="*/ 1709543 w 3105279"/>
              <a:gd name="connsiteY78" fmla="*/ 3068271 h 3105260"/>
              <a:gd name="connsiteX79" fmla="*/ 1715261 w 3105279"/>
              <a:gd name="connsiteY79" fmla="*/ 3067664 h 3105260"/>
              <a:gd name="connsiteX80" fmla="*/ 1718349 w 3105279"/>
              <a:gd name="connsiteY80" fmla="*/ 3096473 h 3105260"/>
              <a:gd name="connsiteX81" fmla="*/ 1712521 w 3105279"/>
              <a:gd name="connsiteY81" fmla="*/ 3097079 h 3105260"/>
              <a:gd name="connsiteX82" fmla="*/ 1390700 w 3105279"/>
              <a:gd name="connsiteY82" fmla="*/ 3096656 h 3105260"/>
              <a:gd name="connsiteX83" fmla="*/ 1384872 w 3105279"/>
              <a:gd name="connsiteY83" fmla="*/ 3096031 h 3105260"/>
              <a:gd name="connsiteX84" fmla="*/ 1388034 w 3105279"/>
              <a:gd name="connsiteY84" fmla="*/ 3067223 h 3105260"/>
              <a:gd name="connsiteX85" fmla="*/ 1393752 w 3105279"/>
              <a:gd name="connsiteY85" fmla="*/ 3067848 h 3105260"/>
              <a:gd name="connsiteX86" fmla="*/ 1390700 w 3105279"/>
              <a:gd name="connsiteY86" fmla="*/ 3096656 h 3105260"/>
              <a:gd name="connsiteX87" fmla="*/ 1732891 w 3105279"/>
              <a:gd name="connsiteY87" fmla="*/ 3094855 h 3105260"/>
              <a:gd name="connsiteX88" fmla="*/ 1729527 w 3105279"/>
              <a:gd name="connsiteY88" fmla="*/ 3066083 h 3105260"/>
              <a:gd name="connsiteX89" fmla="*/ 1735245 w 3105279"/>
              <a:gd name="connsiteY89" fmla="*/ 3065403 h 3105260"/>
              <a:gd name="connsiteX90" fmla="*/ 1738719 w 3105279"/>
              <a:gd name="connsiteY90" fmla="*/ 3094175 h 3105260"/>
              <a:gd name="connsiteX91" fmla="*/ 1732910 w 3105279"/>
              <a:gd name="connsiteY91" fmla="*/ 3094873 h 3105260"/>
              <a:gd name="connsiteX92" fmla="*/ 1370311 w 3105279"/>
              <a:gd name="connsiteY92" fmla="*/ 3094358 h 3105260"/>
              <a:gd name="connsiteX93" fmla="*/ 1364483 w 3105279"/>
              <a:gd name="connsiteY93" fmla="*/ 3093641 h 3105260"/>
              <a:gd name="connsiteX94" fmla="*/ 1368032 w 3105279"/>
              <a:gd name="connsiteY94" fmla="*/ 3064888 h 3105260"/>
              <a:gd name="connsiteX95" fmla="*/ 1373731 w 3105279"/>
              <a:gd name="connsiteY95" fmla="*/ 3065587 h 3105260"/>
              <a:gd name="connsiteX96" fmla="*/ 1370293 w 3105279"/>
              <a:gd name="connsiteY96" fmla="*/ 3094358 h 3105260"/>
              <a:gd name="connsiteX97" fmla="*/ 1753262 w 3105279"/>
              <a:gd name="connsiteY97" fmla="*/ 3092336 h 3105260"/>
              <a:gd name="connsiteX98" fmla="*/ 1749511 w 3105279"/>
              <a:gd name="connsiteY98" fmla="*/ 3063601 h 3105260"/>
              <a:gd name="connsiteX99" fmla="*/ 1755210 w 3105279"/>
              <a:gd name="connsiteY99" fmla="*/ 3062847 h 3105260"/>
              <a:gd name="connsiteX100" fmla="*/ 1759071 w 3105279"/>
              <a:gd name="connsiteY100" fmla="*/ 3091564 h 3105260"/>
              <a:gd name="connsiteX101" fmla="*/ 1753262 w 3105279"/>
              <a:gd name="connsiteY101" fmla="*/ 3092336 h 3105260"/>
              <a:gd name="connsiteX102" fmla="*/ 1349960 w 3105279"/>
              <a:gd name="connsiteY102" fmla="*/ 3091803 h 3105260"/>
              <a:gd name="connsiteX103" fmla="*/ 1344150 w 3105279"/>
              <a:gd name="connsiteY103" fmla="*/ 3091031 h 3105260"/>
              <a:gd name="connsiteX104" fmla="*/ 1348066 w 3105279"/>
              <a:gd name="connsiteY104" fmla="*/ 3062314 h 3105260"/>
              <a:gd name="connsiteX105" fmla="*/ 1353765 w 3105279"/>
              <a:gd name="connsiteY105" fmla="*/ 3063086 h 3105260"/>
              <a:gd name="connsiteX106" fmla="*/ 1349960 w 3105279"/>
              <a:gd name="connsiteY106" fmla="*/ 3091803 h 3105260"/>
              <a:gd name="connsiteX107" fmla="*/ 1773576 w 3105279"/>
              <a:gd name="connsiteY107" fmla="*/ 3089560 h 3105260"/>
              <a:gd name="connsiteX108" fmla="*/ 1769440 w 3105279"/>
              <a:gd name="connsiteY108" fmla="*/ 3060880 h 3105260"/>
              <a:gd name="connsiteX109" fmla="*/ 1775139 w 3105279"/>
              <a:gd name="connsiteY109" fmla="*/ 3060053 h 3105260"/>
              <a:gd name="connsiteX110" fmla="*/ 1779368 w 3105279"/>
              <a:gd name="connsiteY110" fmla="*/ 3088714 h 3105260"/>
              <a:gd name="connsiteX111" fmla="*/ 1773576 w 3105279"/>
              <a:gd name="connsiteY111" fmla="*/ 3089560 h 3105260"/>
              <a:gd name="connsiteX112" fmla="*/ 1329645 w 3105279"/>
              <a:gd name="connsiteY112" fmla="*/ 3088972 h 3105260"/>
              <a:gd name="connsiteX113" fmla="*/ 1323853 w 3105279"/>
              <a:gd name="connsiteY113" fmla="*/ 3088108 h 3105260"/>
              <a:gd name="connsiteX114" fmla="*/ 1328155 w 3105279"/>
              <a:gd name="connsiteY114" fmla="*/ 3059446 h 3105260"/>
              <a:gd name="connsiteX115" fmla="*/ 1333836 w 3105279"/>
              <a:gd name="connsiteY115" fmla="*/ 3060292 h 3105260"/>
              <a:gd name="connsiteX116" fmla="*/ 1329645 w 3105279"/>
              <a:gd name="connsiteY116" fmla="*/ 3088953 h 3105260"/>
              <a:gd name="connsiteX117" fmla="*/ 1793855 w 3105279"/>
              <a:gd name="connsiteY117" fmla="*/ 3086490 h 3105260"/>
              <a:gd name="connsiteX118" fmla="*/ 1789351 w 3105279"/>
              <a:gd name="connsiteY118" fmla="*/ 3057865 h 3105260"/>
              <a:gd name="connsiteX119" fmla="*/ 1795031 w 3105279"/>
              <a:gd name="connsiteY119" fmla="*/ 3056964 h 3105260"/>
              <a:gd name="connsiteX120" fmla="*/ 1799646 w 3105279"/>
              <a:gd name="connsiteY120" fmla="*/ 3085571 h 3105260"/>
              <a:gd name="connsiteX121" fmla="*/ 1793855 w 3105279"/>
              <a:gd name="connsiteY121" fmla="*/ 3086490 h 3105260"/>
              <a:gd name="connsiteX122" fmla="*/ 1309385 w 3105279"/>
              <a:gd name="connsiteY122" fmla="*/ 3085865 h 3105260"/>
              <a:gd name="connsiteX123" fmla="*/ 1303594 w 3105279"/>
              <a:gd name="connsiteY123" fmla="*/ 3084927 h 3105260"/>
              <a:gd name="connsiteX124" fmla="*/ 1308282 w 3105279"/>
              <a:gd name="connsiteY124" fmla="*/ 3056339 h 3105260"/>
              <a:gd name="connsiteX125" fmla="*/ 1313944 w 3105279"/>
              <a:gd name="connsiteY125" fmla="*/ 3057258 h 3105260"/>
              <a:gd name="connsiteX126" fmla="*/ 1309385 w 3105279"/>
              <a:gd name="connsiteY126" fmla="*/ 3085865 h 3105260"/>
              <a:gd name="connsiteX127" fmla="*/ 1814114 w 3105279"/>
              <a:gd name="connsiteY127" fmla="*/ 3083162 h 3105260"/>
              <a:gd name="connsiteX128" fmla="*/ 1809224 w 3105279"/>
              <a:gd name="connsiteY128" fmla="*/ 3054611 h 3105260"/>
              <a:gd name="connsiteX129" fmla="*/ 1814886 w 3105279"/>
              <a:gd name="connsiteY129" fmla="*/ 3053637 h 3105260"/>
              <a:gd name="connsiteX130" fmla="*/ 1819887 w 3105279"/>
              <a:gd name="connsiteY130" fmla="*/ 3082169 h 3105260"/>
              <a:gd name="connsiteX131" fmla="*/ 1814114 w 3105279"/>
              <a:gd name="connsiteY131" fmla="*/ 3083162 h 3105260"/>
              <a:gd name="connsiteX132" fmla="*/ 1289143 w 3105279"/>
              <a:gd name="connsiteY132" fmla="*/ 3082500 h 3105260"/>
              <a:gd name="connsiteX133" fmla="*/ 1283371 w 3105279"/>
              <a:gd name="connsiteY133" fmla="*/ 3081489 h 3105260"/>
              <a:gd name="connsiteX134" fmla="*/ 1288426 w 3105279"/>
              <a:gd name="connsiteY134" fmla="*/ 3052956 h 3105260"/>
              <a:gd name="connsiteX135" fmla="*/ 1294089 w 3105279"/>
              <a:gd name="connsiteY135" fmla="*/ 3053949 h 3105260"/>
              <a:gd name="connsiteX136" fmla="*/ 1289143 w 3105279"/>
              <a:gd name="connsiteY136" fmla="*/ 3082500 h 3105260"/>
              <a:gd name="connsiteX137" fmla="*/ 1834301 w 3105279"/>
              <a:gd name="connsiteY137" fmla="*/ 3079577 h 3105260"/>
              <a:gd name="connsiteX138" fmla="*/ 1829043 w 3105279"/>
              <a:gd name="connsiteY138" fmla="*/ 3051081 h 3105260"/>
              <a:gd name="connsiteX139" fmla="*/ 1834705 w 3105279"/>
              <a:gd name="connsiteY139" fmla="*/ 3050033 h 3105260"/>
              <a:gd name="connsiteX140" fmla="*/ 1840073 w 3105279"/>
              <a:gd name="connsiteY140" fmla="*/ 3078511 h 3105260"/>
              <a:gd name="connsiteX141" fmla="*/ 1834301 w 3105279"/>
              <a:gd name="connsiteY141" fmla="*/ 3079596 h 3105260"/>
              <a:gd name="connsiteX142" fmla="*/ 1268976 w 3105279"/>
              <a:gd name="connsiteY142" fmla="*/ 3078879 h 3105260"/>
              <a:gd name="connsiteX143" fmla="*/ 1263203 w 3105279"/>
              <a:gd name="connsiteY143" fmla="*/ 3077794 h 3105260"/>
              <a:gd name="connsiteX144" fmla="*/ 1268645 w 3105279"/>
              <a:gd name="connsiteY144" fmla="*/ 3049335 h 3105260"/>
              <a:gd name="connsiteX145" fmla="*/ 1274289 w 3105279"/>
              <a:gd name="connsiteY145" fmla="*/ 3050401 h 3105260"/>
              <a:gd name="connsiteX146" fmla="*/ 1268976 w 3105279"/>
              <a:gd name="connsiteY146" fmla="*/ 3078879 h 3105260"/>
              <a:gd name="connsiteX147" fmla="*/ 1854468 w 3105279"/>
              <a:gd name="connsiteY147" fmla="*/ 3075698 h 3105260"/>
              <a:gd name="connsiteX148" fmla="*/ 1848806 w 3105279"/>
              <a:gd name="connsiteY148" fmla="*/ 3047276 h 3105260"/>
              <a:gd name="connsiteX149" fmla="*/ 1854450 w 3105279"/>
              <a:gd name="connsiteY149" fmla="*/ 3046136 h 3105260"/>
              <a:gd name="connsiteX150" fmla="*/ 1860204 w 3105279"/>
              <a:gd name="connsiteY150" fmla="*/ 3074540 h 3105260"/>
              <a:gd name="connsiteX151" fmla="*/ 1854450 w 3105279"/>
              <a:gd name="connsiteY151" fmla="*/ 3075698 h 3105260"/>
              <a:gd name="connsiteX152" fmla="*/ 1248844 w 3105279"/>
              <a:gd name="connsiteY152" fmla="*/ 3074981 h 3105260"/>
              <a:gd name="connsiteX153" fmla="*/ 1243109 w 3105279"/>
              <a:gd name="connsiteY153" fmla="*/ 3073823 h 3105260"/>
              <a:gd name="connsiteX154" fmla="*/ 1248918 w 3105279"/>
              <a:gd name="connsiteY154" fmla="*/ 3045437 h 3105260"/>
              <a:gd name="connsiteX155" fmla="*/ 1254562 w 3105279"/>
              <a:gd name="connsiteY155" fmla="*/ 3046577 h 3105260"/>
              <a:gd name="connsiteX156" fmla="*/ 1248863 w 3105279"/>
              <a:gd name="connsiteY156" fmla="*/ 3074981 h 3105260"/>
              <a:gd name="connsiteX157" fmla="*/ 1874563 w 3105279"/>
              <a:gd name="connsiteY157" fmla="*/ 3071580 h 3105260"/>
              <a:gd name="connsiteX158" fmla="*/ 1868533 w 3105279"/>
              <a:gd name="connsiteY158" fmla="*/ 3043231 h 3105260"/>
              <a:gd name="connsiteX159" fmla="*/ 1874158 w 3105279"/>
              <a:gd name="connsiteY159" fmla="*/ 3042018 h 3105260"/>
              <a:gd name="connsiteX160" fmla="*/ 1880299 w 3105279"/>
              <a:gd name="connsiteY160" fmla="*/ 3070330 h 3105260"/>
              <a:gd name="connsiteX161" fmla="*/ 1874563 w 3105279"/>
              <a:gd name="connsiteY161" fmla="*/ 3071562 h 3105260"/>
              <a:gd name="connsiteX162" fmla="*/ 1228769 w 3105279"/>
              <a:gd name="connsiteY162" fmla="*/ 3070826 h 3105260"/>
              <a:gd name="connsiteX163" fmla="*/ 1223051 w 3105279"/>
              <a:gd name="connsiteY163" fmla="*/ 3069594 h 3105260"/>
              <a:gd name="connsiteX164" fmla="*/ 1229210 w 3105279"/>
              <a:gd name="connsiteY164" fmla="*/ 3041282 h 3105260"/>
              <a:gd name="connsiteX165" fmla="*/ 1234835 w 3105279"/>
              <a:gd name="connsiteY165" fmla="*/ 3042496 h 3105260"/>
              <a:gd name="connsiteX166" fmla="*/ 1228769 w 3105279"/>
              <a:gd name="connsiteY166" fmla="*/ 3070826 h 3105260"/>
              <a:gd name="connsiteX167" fmla="*/ 1894602 w 3105279"/>
              <a:gd name="connsiteY167" fmla="*/ 3067168 h 3105260"/>
              <a:gd name="connsiteX168" fmla="*/ 1888204 w 3105279"/>
              <a:gd name="connsiteY168" fmla="*/ 3038911 h 3105260"/>
              <a:gd name="connsiteX169" fmla="*/ 1893811 w 3105279"/>
              <a:gd name="connsiteY169" fmla="*/ 3037624 h 3105260"/>
              <a:gd name="connsiteX170" fmla="*/ 1900338 w 3105279"/>
              <a:gd name="connsiteY170" fmla="*/ 3065862 h 3105260"/>
              <a:gd name="connsiteX171" fmla="*/ 1894602 w 3105279"/>
              <a:gd name="connsiteY171" fmla="*/ 3067168 h 3105260"/>
              <a:gd name="connsiteX172" fmla="*/ 1208748 w 3105279"/>
              <a:gd name="connsiteY172" fmla="*/ 3066396 h 3105260"/>
              <a:gd name="connsiteX173" fmla="*/ 1203049 w 3105279"/>
              <a:gd name="connsiteY173" fmla="*/ 3065090 h 3105260"/>
              <a:gd name="connsiteX174" fmla="*/ 1209575 w 3105279"/>
              <a:gd name="connsiteY174" fmla="*/ 3036870 h 3105260"/>
              <a:gd name="connsiteX175" fmla="*/ 1215182 w 3105279"/>
              <a:gd name="connsiteY175" fmla="*/ 3038157 h 3105260"/>
              <a:gd name="connsiteX176" fmla="*/ 1208729 w 3105279"/>
              <a:gd name="connsiteY176" fmla="*/ 3066414 h 3105260"/>
              <a:gd name="connsiteX177" fmla="*/ 1914586 w 3105279"/>
              <a:gd name="connsiteY177" fmla="*/ 3062498 h 3105260"/>
              <a:gd name="connsiteX178" fmla="*/ 1907820 w 3105279"/>
              <a:gd name="connsiteY178" fmla="*/ 3034333 h 3105260"/>
              <a:gd name="connsiteX179" fmla="*/ 1913409 w 3105279"/>
              <a:gd name="connsiteY179" fmla="*/ 3032972 h 3105260"/>
              <a:gd name="connsiteX180" fmla="*/ 1920285 w 3105279"/>
              <a:gd name="connsiteY180" fmla="*/ 3061119 h 3105260"/>
              <a:gd name="connsiteX181" fmla="*/ 1914586 w 3105279"/>
              <a:gd name="connsiteY181" fmla="*/ 3062498 h 3105260"/>
              <a:gd name="connsiteX182" fmla="*/ 1188801 w 3105279"/>
              <a:gd name="connsiteY182" fmla="*/ 3061726 h 3105260"/>
              <a:gd name="connsiteX183" fmla="*/ 1183120 w 3105279"/>
              <a:gd name="connsiteY183" fmla="*/ 3060347 h 3105260"/>
              <a:gd name="connsiteX184" fmla="*/ 1190014 w 3105279"/>
              <a:gd name="connsiteY184" fmla="*/ 3032200 h 3105260"/>
              <a:gd name="connsiteX185" fmla="*/ 1195603 w 3105279"/>
              <a:gd name="connsiteY185" fmla="*/ 3033561 h 3105260"/>
              <a:gd name="connsiteX186" fmla="*/ 1188801 w 3105279"/>
              <a:gd name="connsiteY186" fmla="*/ 3061726 h 3105260"/>
              <a:gd name="connsiteX187" fmla="*/ 1934515 w 3105279"/>
              <a:gd name="connsiteY187" fmla="*/ 3057571 h 3105260"/>
              <a:gd name="connsiteX188" fmla="*/ 1927363 w 3105279"/>
              <a:gd name="connsiteY188" fmla="*/ 3029498 h 3105260"/>
              <a:gd name="connsiteX189" fmla="*/ 1932934 w 3105279"/>
              <a:gd name="connsiteY189" fmla="*/ 3028064 h 3105260"/>
              <a:gd name="connsiteX190" fmla="*/ 1940196 w 3105279"/>
              <a:gd name="connsiteY190" fmla="*/ 3056118 h 3105260"/>
              <a:gd name="connsiteX191" fmla="*/ 1934515 w 3105279"/>
              <a:gd name="connsiteY191" fmla="*/ 3057571 h 3105260"/>
              <a:gd name="connsiteX192" fmla="*/ 1168908 w 3105279"/>
              <a:gd name="connsiteY192" fmla="*/ 3056780 h 3105260"/>
              <a:gd name="connsiteX193" fmla="*/ 1163246 w 3105279"/>
              <a:gd name="connsiteY193" fmla="*/ 3055328 h 3105260"/>
              <a:gd name="connsiteX194" fmla="*/ 1170526 w 3105279"/>
              <a:gd name="connsiteY194" fmla="*/ 3027273 h 3105260"/>
              <a:gd name="connsiteX195" fmla="*/ 1176097 w 3105279"/>
              <a:gd name="connsiteY195" fmla="*/ 3028707 h 3105260"/>
              <a:gd name="connsiteX196" fmla="*/ 1168927 w 3105279"/>
              <a:gd name="connsiteY196" fmla="*/ 3056780 h 3105260"/>
              <a:gd name="connsiteX197" fmla="*/ 1954352 w 3105279"/>
              <a:gd name="connsiteY197" fmla="*/ 3052368 h 3105260"/>
              <a:gd name="connsiteX198" fmla="*/ 1946851 w 3105279"/>
              <a:gd name="connsiteY198" fmla="*/ 3024387 h 3105260"/>
              <a:gd name="connsiteX199" fmla="*/ 1952403 w 3105279"/>
              <a:gd name="connsiteY199" fmla="*/ 3022879 h 3105260"/>
              <a:gd name="connsiteX200" fmla="*/ 1960033 w 3105279"/>
              <a:gd name="connsiteY200" fmla="*/ 3050824 h 3105260"/>
              <a:gd name="connsiteX201" fmla="*/ 1954352 w 3105279"/>
              <a:gd name="connsiteY201" fmla="*/ 3052368 h 3105260"/>
              <a:gd name="connsiteX202" fmla="*/ 1149072 w 3105279"/>
              <a:gd name="connsiteY202" fmla="*/ 3051559 h 3105260"/>
              <a:gd name="connsiteX203" fmla="*/ 1143428 w 3105279"/>
              <a:gd name="connsiteY203" fmla="*/ 3050033 h 3105260"/>
              <a:gd name="connsiteX204" fmla="*/ 1151057 w 3105279"/>
              <a:gd name="connsiteY204" fmla="*/ 3022089 h 3105260"/>
              <a:gd name="connsiteX205" fmla="*/ 1156609 w 3105279"/>
              <a:gd name="connsiteY205" fmla="*/ 3023596 h 3105260"/>
              <a:gd name="connsiteX206" fmla="*/ 1149053 w 3105279"/>
              <a:gd name="connsiteY206" fmla="*/ 3051559 h 3105260"/>
              <a:gd name="connsiteX207" fmla="*/ 1974152 w 3105279"/>
              <a:gd name="connsiteY207" fmla="*/ 3046908 h 3105260"/>
              <a:gd name="connsiteX208" fmla="*/ 1966265 w 3105279"/>
              <a:gd name="connsiteY208" fmla="*/ 3019037 h 3105260"/>
              <a:gd name="connsiteX209" fmla="*/ 1971799 w 3105279"/>
              <a:gd name="connsiteY209" fmla="*/ 3017456 h 3105260"/>
              <a:gd name="connsiteX210" fmla="*/ 1979796 w 3105279"/>
              <a:gd name="connsiteY210" fmla="*/ 3045308 h 3105260"/>
              <a:gd name="connsiteX211" fmla="*/ 1974152 w 3105279"/>
              <a:gd name="connsiteY211" fmla="*/ 3046908 h 3105260"/>
              <a:gd name="connsiteX212" fmla="*/ 1129326 w 3105279"/>
              <a:gd name="connsiteY212" fmla="*/ 3046099 h 3105260"/>
              <a:gd name="connsiteX213" fmla="*/ 1123701 w 3105279"/>
              <a:gd name="connsiteY213" fmla="*/ 3044500 h 3105260"/>
              <a:gd name="connsiteX214" fmla="*/ 1131698 w 3105279"/>
              <a:gd name="connsiteY214" fmla="*/ 3016647 h 3105260"/>
              <a:gd name="connsiteX215" fmla="*/ 1137232 w 3105279"/>
              <a:gd name="connsiteY215" fmla="*/ 3018228 h 3105260"/>
              <a:gd name="connsiteX216" fmla="*/ 1129326 w 3105279"/>
              <a:gd name="connsiteY216" fmla="*/ 3046099 h 3105260"/>
              <a:gd name="connsiteX217" fmla="*/ 1993860 w 3105279"/>
              <a:gd name="connsiteY217" fmla="*/ 3041190 h 3105260"/>
              <a:gd name="connsiteX218" fmla="*/ 1985606 w 3105279"/>
              <a:gd name="connsiteY218" fmla="*/ 3013411 h 3105260"/>
              <a:gd name="connsiteX219" fmla="*/ 1991103 w 3105279"/>
              <a:gd name="connsiteY219" fmla="*/ 3011757 h 3105260"/>
              <a:gd name="connsiteX220" fmla="*/ 1999486 w 3105279"/>
              <a:gd name="connsiteY220" fmla="*/ 3039499 h 3105260"/>
              <a:gd name="connsiteX221" fmla="*/ 1993860 w 3105279"/>
              <a:gd name="connsiteY221" fmla="*/ 3041190 h 3105260"/>
              <a:gd name="connsiteX222" fmla="*/ 1109655 w 3105279"/>
              <a:gd name="connsiteY222" fmla="*/ 3040381 h 3105260"/>
              <a:gd name="connsiteX223" fmla="*/ 1104048 w 3105279"/>
              <a:gd name="connsiteY223" fmla="*/ 3038708 h 3105260"/>
              <a:gd name="connsiteX224" fmla="*/ 1112413 w 3105279"/>
              <a:gd name="connsiteY224" fmla="*/ 3010966 h 3105260"/>
              <a:gd name="connsiteX225" fmla="*/ 1117910 w 3105279"/>
              <a:gd name="connsiteY225" fmla="*/ 3012621 h 3105260"/>
              <a:gd name="connsiteX226" fmla="*/ 1109637 w 3105279"/>
              <a:gd name="connsiteY226" fmla="*/ 3040381 h 3105260"/>
              <a:gd name="connsiteX227" fmla="*/ 2013495 w 3105279"/>
              <a:gd name="connsiteY227" fmla="*/ 3035197 h 3105260"/>
              <a:gd name="connsiteX228" fmla="*/ 2004873 w 3105279"/>
              <a:gd name="connsiteY228" fmla="*/ 3007528 h 3105260"/>
              <a:gd name="connsiteX229" fmla="*/ 2010351 w 3105279"/>
              <a:gd name="connsiteY229" fmla="*/ 3005800 h 3105260"/>
              <a:gd name="connsiteX230" fmla="*/ 2019084 w 3105279"/>
              <a:gd name="connsiteY230" fmla="*/ 3033432 h 3105260"/>
              <a:gd name="connsiteX231" fmla="*/ 2013476 w 3105279"/>
              <a:gd name="connsiteY231" fmla="*/ 3035197 h 3105260"/>
              <a:gd name="connsiteX232" fmla="*/ 1090057 w 3105279"/>
              <a:gd name="connsiteY232" fmla="*/ 3034406 h 3105260"/>
              <a:gd name="connsiteX233" fmla="*/ 1084468 w 3105279"/>
              <a:gd name="connsiteY233" fmla="*/ 3032642 h 3105260"/>
              <a:gd name="connsiteX234" fmla="*/ 1093201 w 3105279"/>
              <a:gd name="connsiteY234" fmla="*/ 3005010 h 3105260"/>
              <a:gd name="connsiteX235" fmla="*/ 1098679 w 3105279"/>
              <a:gd name="connsiteY235" fmla="*/ 3006738 h 3105260"/>
              <a:gd name="connsiteX236" fmla="*/ 1090057 w 3105279"/>
              <a:gd name="connsiteY236" fmla="*/ 3034388 h 3105260"/>
              <a:gd name="connsiteX237" fmla="*/ 2033056 w 3105279"/>
              <a:gd name="connsiteY237" fmla="*/ 3028946 h 3105260"/>
              <a:gd name="connsiteX238" fmla="*/ 2024066 w 3105279"/>
              <a:gd name="connsiteY238" fmla="*/ 3001406 h 3105260"/>
              <a:gd name="connsiteX239" fmla="*/ 2029545 w 3105279"/>
              <a:gd name="connsiteY239" fmla="*/ 2999604 h 3105260"/>
              <a:gd name="connsiteX240" fmla="*/ 2038627 w 3105279"/>
              <a:gd name="connsiteY240" fmla="*/ 3027108 h 3105260"/>
              <a:gd name="connsiteX241" fmla="*/ 2033056 w 3105279"/>
              <a:gd name="connsiteY241" fmla="*/ 3028946 h 3105260"/>
              <a:gd name="connsiteX242" fmla="*/ 1070533 w 3105279"/>
              <a:gd name="connsiteY242" fmla="*/ 3028174 h 3105260"/>
              <a:gd name="connsiteX243" fmla="*/ 1064962 w 3105279"/>
              <a:gd name="connsiteY243" fmla="*/ 3026354 h 3105260"/>
              <a:gd name="connsiteX244" fmla="*/ 1074063 w 3105279"/>
              <a:gd name="connsiteY244" fmla="*/ 2998851 h 3105260"/>
              <a:gd name="connsiteX245" fmla="*/ 1079523 w 3105279"/>
              <a:gd name="connsiteY245" fmla="*/ 3000652 h 3105260"/>
              <a:gd name="connsiteX246" fmla="*/ 1070533 w 3105279"/>
              <a:gd name="connsiteY246" fmla="*/ 3028192 h 3105260"/>
              <a:gd name="connsiteX247" fmla="*/ 2052507 w 3105279"/>
              <a:gd name="connsiteY247" fmla="*/ 3022438 h 3105260"/>
              <a:gd name="connsiteX248" fmla="*/ 2043149 w 3105279"/>
              <a:gd name="connsiteY248" fmla="*/ 2995008 h 3105260"/>
              <a:gd name="connsiteX249" fmla="*/ 2048591 w 3105279"/>
              <a:gd name="connsiteY249" fmla="*/ 2993133 h 3105260"/>
              <a:gd name="connsiteX250" fmla="*/ 2058059 w 3105279"/>
              <a:gd name="connsiteY250" fmla="*/ 3020508 h 3105260"/>
              <a:gd name="connsiteX251" fmla="*/ 2052507 w 3105279"/>
              <a:gd name="connsiteY251" fmla="*/ 3022420 h 3105260"/>
              <a:gd name="connsiteX252" fmla="*/ 1051100 w 3105279"/>
              <a:gd name="connsiteY252" fmla="*/ 3021684 h 3105260"/>
              <a:gd name="connsiteX253" fmla="*/ 1045566 w 3105279"/>
              <a:gd name="connsiteY253" fmla="*/ 3019791 h 3105260"/>
              <a:gd name="connsiteX254" fmla="*/ 1055016 w 3105279"/>
              <a:gd name="connsiteY254" fmla="*/ 2992398 h 3105260"/>
              <a:gd name="connsiteX255" fmla="*/ 1060440 w 3105279"/>
              <a:gd name="connsiteY255" fmla="*/ 2994255 h 3105260"/>
              <a:gd name="connsiteX256" fmla="*/ 1051082 w 3105279"/>
              <a:gd name="connsiteY256" fmla="*/ 3021684 h 3105260"/>
              <a:gd name="connsiteX257" fmla="*/ 2071903 w 3105279"/>
              <a:gd name="connsiteY257" fmla="*/ 3015672 h 3105260"/>
              <a:gd name="connsiteX258" fmla="*/ 2062196 w 3105279"/>
              <a:gd name="connsiteY258" fmla="*/ 2988371 h 3105260"/>
              <a:gd name="connsiteX259" fmla="*/ 2067601 w 3105279"/>
              <a:gd name="connsiteY259" fmla="*/ 2986423 h 3105260"/>
              <a:gd name="connsiteX260" fmla="*/ 2077436 w 3105279"/>
              <a:gd name="connsiteY260" fmla="*/ 3013669 h 3105260"/>
              <a:gd name="connsiteX261" fmla="*/ 2071903 w 3105279"/>
              <a:gd name="connsiteY261" fmla="*/ 3015654 h 3105260"/>
              <a:gd name="connsiteX262" fmla="*/ 1031760 w 3105279"/>
              <a:gd name="connsiteY262" fmla="*/ 3014937 h 3105260"/>
              <a:gd name="connsiteX263" fmla="*/ 1026244 w 3105279"/>
              <a:gd name="connsiteY263" fmla="*/ 3012970 h 3105260"/>
              <a:gd name="connsiteX264" fmla="*/ 1036062 w 3105279"/>
              <a:gd name="connsiteY264" fmla="*/ 2985706 h 3105260"/>
              <a:gd name="connsiteX265" fmla="*/ 1041467 w 3105279"/>
              <a:gd name="connsiteY265" fmla="*/ 2987636 h 3105260"/>
              <a:gd name="connsiteX266" fmla="*/ 1031760 w 3105279"/>
              <a:gd name="connsiteY266" fmla="*/ 3014937 h 3105260"/>
              <a:gd name="connsiteX267" fmla="*/ 2091206 w 3105279"/>
              <a:gd name="connsiteY267" fmla="*/ 3008668 h 3105260"/>
              <a:gd name="connsiteX268" fmla="*/ 2081132 w 3105279"/>
              <a:gd name="connsiteY268" fmla="*/ 2981514 h 3105260"/>
              <a:gd name="connsiteX269" fmla="*/ 2086518 w 3105279"/>
              <a:gd name="connsiteY269" fmla="*/ 2979510 h 3105260"/>
              <a:gd name="connsiteX270" fmla="*/ 2096703 w 3105279"/>
              <a:gd name="connsiteY270" fmla="*/ 3006627 h 3105260"/>
              <a:gd name="connsiteX271" fmla="*/ 2091206 w 3105279"/>
              <a:gd name="connsiteY271" fmla="*/ 3008686 h 3105260"/>
              <a:gd name="connsiteX272" fmla="*/ 1012511 w 3105279"/>
              <a:gd name="connsiteY272" fmla="*/ 3007933 h 3105260"/>
              <a:gd name="connsiteX273" fmla="*/ 1007032 w 3105279"/>
              <a:gd name="connsiteY273" fmla="*/ 3005892 h 3105260"/>
              <a:gd name="connsiteX274" fmla="*/ 1017217 w 3105279"/>
              <a:gd name="connsiteY274" fmla="*/ 2978775 h 3105260"/>
              <a:gd name="connsiteX275" fmla="*/ 1022604 w 3105279"/>
              <a:gd name="connsiteY275" fmla="*/ 2980779 h 3105260"/>
              <a:gd name="connsiteX276" fmla="*/ 1012529 w 3105279"/>
              <a:gd name="connsiteY276" fmla="*/ 3007951 h 3105260"/>
              <a:gd name="connsiteX277" fmla="*/ 2110400 w 3105279"/>
              <a:gd name="connsiteY277" fmla="*/ 3001388 h 3105260"/>
              <a:gd name="connsiteX278" fmla="*/ 2099958 w 3105279"/>
              <a:gd name="connsiteY278" fmla="*/ 2974362 h 3105260"/>
              <a:gd name="connsiteX279" fmla="*/ 2105326 w 3105279"/>
              <a:gd name="connsiteY279" fmla="*/ 2972285 h 3105260"/>
              <a:gd name="connsiteX280" fmla="*/ 2115879 w 3105279"/>
              <a:gd name="connsiteY280" fmla="*/ 2999274 h 3105260"/>
              <a:gd name="connsiteX281" fmla="*/ 2110400 w 3105279"/>
              <a:gd name="connsiteY281" fmla="*/ 3001406 h 3105260"/>
              <a:gd name="connsiteX282" fmla="*/ 993354 w 3105279"/>
              <a:gd name="connsiteY282" fmla="*/ 3000689 h 3105260"/>
              <a:gd name="connsiteX283" fmla="*/ 987912 w 3105279"/>
              <a:gd name="connsiteY283" fmla="*/ 2998575 h 3105260"/>
              <a:gd name="connsiteX284" fmla="*/ 998429 w 3105279"/>
              <a:gd name="connsiteY284" fmla="*/ 2971586 h 3105260"/>
              <a:gd name="connsiteX285" fmla="*/ 1003797 w 3105279"/>
              <a:gd name="connsiteY285" fmla="*/ 2973664 h 3105260"/>
              <a:gd name="connsiteX286" fmla="*/ 993354 w 3105279"/>
              <a:gd name="connsiteY286" fmla="*/ 3000689 h 3105260"/>
              <a:gd name="connsiteX287" fmla="*/ 2129501 w 3105279"/>
              <a:gd name="connsiteY287" fmla="*/ 2993868 h 3105260"/>
              <a:gd name="connsiteX288" fmla="*/ 2118710 w 3105279"/>
              <a:gd name="connsiteY288" fmla="*/ 2966972 h 3105260"/>
              <a:gd name="connsiteX289" fmla="*/ 2124060 w 3105279"/>
              <a:gd name="connsiteY289" fmla="*/ 2964821 h 3105260"/>
              <a:gd name="connsiteX290" fmla="*/ 2134943 w 3105279"/>
              <a:gd name="connsiteY290" fmla="*/ 2991681 h 3105260"/>
              <a:gd name="connsiteX291" fmla="*/ 2129501 w 3105279"/>
              <a:gd name="connsiteY291" fmla="*/ 2993868 h 3105260"/>
              <a:gd name="connsiteX292" fmla="*/ 974290 w 3105279"/>
              <a:gd name="connsiteY292" fmla="*/ 2993188 h 3105260"/>
              <a:gd name="connsiteX293" fmla="*/ 968866 w 3105279"/>
              <a:gd name="connsiteY293" fmla="*/ 2991001 h 3105260"/>
              <a:gd name="connsiteX294" fmla="*/ 979750 w 3105279"/>
              <a:gd name="connsiteY294" fmla="*/ 2964141 h 3105260"/>
              <a:gd name="connsiteX295" fmla="*/ 985081 w 3105279"/>
              <a:gd name="connsiteY295" fmla="*/ 2966292 h 3105260"/>
              <a:gd name="connsiteX296" fmla="*/ 974308 w 3105279"/>
              <a:gd name="connsiteY296" fmla="*/ 2993188 h 3105260"/>
              <a:gd name="connsiteX297" fmla="*/ 2148493 w 3105279"/>
              <a:gd name="connsiteY297" fmla="*/ 2986092 h 3105260"/>
              <a:gd name="connsiteX298" fmla="*/ 2137370 w 3105279"/>
              <a:gd name="connsiteY298" fmla="*/ 2959342 h 3105260"/>
              <a:gd name="connsiteX299" fmla="*/ 2142683 w 3105279"/>
              <a:gd name="connsiteY299" fmla="*/ 2957118 h 3105260"/>
              <a:gd name="connsiteX300" fmla="*/ 2153935 w 3105279"/>
              <a:gd name="connsiteY300" fmla="*/ 2983812 h 3105260"/>
              <a:gd name="connsiteX301" fmla="*/ 2148511 w 3105279"/>
              <a:gd name="connsiteY301" fmla="*/ 2986092 h 3105260"/>
              <a:gd name="connsiteX302" fmla="*/ 955335 w 3105279"/>
              <a:gd name="connsiteY302" fmla="*/ 2985430 h 3105260"/>
              <a:gd name="connsiteX303" fmla="*/ 949930 w 3105279"/>
              <a:gd name="connsiteY303" fmla="*/ 2983169 h 3105260"/>
              <a:gd name="connsiteX304" fmla="*/ 961181 w 3105279"/>
              <a:gd name="connsiteY304" fmla="*/ 2956474 h 3105260"/>
              <a:gd name="connsiteX305" fmla="*/ 966476 w 3105279"/>
              <a:gd name="connsiteY305" fmla="*/ 2958680 h 3105260"/>
              <a:gd name="connsiteX306" fmla="*/ 955335 w 3105279"/>
              <a:gd name="connsiteY306" fmla="*/ 2985430 h 3105260"/>
              <a:gd name="connsiteX307" fmla="*/ 2167410 w 3105279"/>
              <a:gd name="connsiteY307" fmla="*/ 2978076 h 3105260"/>
              <a:gd name="connsiteX308" fmla="*/ 2155920 w 3105279"/>
              <a:gd name="connsiteY308" fmla="*/ 2951474 h 3105260"/>
              <a:gd name="connsiteX309" fmla="*/ 2161197 w 3105279"/>
              <a:gd name="connsiteY309" fmla="*/ 2949176 h 3105260"/>
              <a:gd name="connsiteX310" fmla="*/ 2172797 w 3105279"/>
              <a:gd name="connsiteY310" fmla="*/ 2975723 h 3105260"/>
              <a:gd name="connsiteX311" fmla="*/ 2167410 w 3105279"/>
              <a:gd name="connsiteY311" fmla="*/ 2978058 h 3105260"/>
              <a:gd name="connsiteX312" fmla="*/ 936473 w 3105279"/>
              <a:gd name="connsiteY312" fmla="*/ 2977451 h 3105260"/>
              <a:gd name="connsiteX313" fmla="*/ 931104 w 3105279"/>
              <a:gd name="connsiteY313" fmla="*/ 2975116 h 3105260"/>
              <a:gd name="connsiteX314" fmla="*/ 942687 w 3105279"/>
              <a:gd name="connsiteY314" fmla="*/ 2948550 h 3105260"/>
              <a:gd name="connsiteX315" fmla="*/ 947944 w 3105279"/>
              <a:gd name="connsiteY315" fmla="*/ 2950830 h 3105260"/>
              <a:gd name="connsiteX316" fmla="*/ 936454 w 3105279"/>
              <a:gd name="connsiteY316" fmla="*/ 2977433 h 3105260"/>
              <a:gd name="connsiteX317" fmla="*/ 2186200 w 3105279"/>
              <a:gd name="connsiteY317" fmla="*/ 2969803 h 3105260"/>
              <a:gd name="connsiteX318" fmla="*/ 2174360 w 3105279"/>
              <a:gd name="connsiteY318" fmla="*/ 2943366 h 3105260"/>
              <a:gd name="connsiteX319" fmla="*/ 2179618 w 3105279"/>
              <a:gd name="connsiteY319" fmla="*/ 2940994 h 3105260"/>
              <a:gd name="connsiteX320" fmla="*/ 2191568 w 3105279"/>
              <a:gd name="connsiteY320" fmla="*/ 2967395 h 3105260"/>
              <a:gd name="connsiteX321" fmla="*/ 2186218 w 3105279"/>
              <a:gd name="connsiteY321" fmla="*/ 2969803 h 3105260"/>
              <a:gd name="connsiteX322" fmla="*/ 917739 w 3105279"/>
              <a:gd name="connsiteY322" fmla="*/ 2969196 h 3105260"/>
              <a:gd name="connsiteX323" fmla="*/ 912407 w 3105279"/>
              <a:gd name="connsiteY323" fmla="*/ 2966806 h 3105260"/>
              <a:gd name="connsiteX324" fmla="*/ 924339 w 3105279"/>
              <a:gd name="connsiteY324" fmla="*/ 2940406 h 3105260"/>
              <a:gd name="connsiteX325" fmla="*/ 929578 w 3105279"/>
              <a:gd name="connsiteY325" fmla="*/ 2942760 h 3105260"/>
              <a:gd name="connsiteX326" fmla="*/ 917739 w 3105279"/>
              <a:gd name="connsiteY326" fmla="*/ 2969196 h 3105260"/>
              <a:gd name="connsiteX327" fmla="*/ 2204897 w 3105279"/>
              <a:gd name="connsiteY327" fmla="*/ 2961273 h 3105260"/>
              <a:gd name="connsiteX328" fmla="*/ 2192708 w 3105279"/>
              <a:gd name="connsiteY328" fmla="*/ 2934983 h 3105260"/>
              <a:gd name="connsiteX329" fmla="*/ 2197929 w 3105279"/>
              <a:gd name="connsiteY329" fmla="*/ 2932556 h 3105260"/>
              <a:gd name="connsiteX330" fmla="*/ 2210210 w 3105279"/>
              <a:gd name="connsiteY330" fmla="*/ 2958791 h 3105260"/>
              <a:gd name="connsiteX331" fmla="*/ 2204897 w 3105279"/>
              <a:gd name="connsiteY331" fmla="*/ 2961273 h 3105260"/>
              <a:gd name="connsiteX332" fmla="*/ 899097 w 3105279"/>
              <a:gd name="connsiteY332" fmla="*/ 2960721 h 3105260"/>
              <a:gd name="connsiteX333" fmla="*/ 893784 w 3105279"/>
              <a:gd name="connsiteY333" fmla="*/ 2958258 h 3105260"/>
              <a:gd name="connsiteX334" fmla="*/ 906064 w 3105279"/>
              <a:gd name="connsiteY334" fmla="*/ 2932023 h 3105260"/>
              <a:gd name="connsiteX335" fmla="*/ 911267 w 3105279"/>
              <a:gd name="connsiteY335" fmla="*/ 2934450 h 3105260"/>
              <a:gd name="connsiteX336" fmla="*/ 899097 w 3105279"/>
              <a:gd name="connsiteY336" fmla="*/ 2960739 h 3105260"/>
              <a:gd name="connsiteX337" fmla="*/ 2223465 w 3105279"/>
              <a:gd name="connsiteY337" fmla="*/ 2952522 h 3105260"/>
              <a:gd name="connsiteX338" fmla="*/ 2210945 w 3105279"/>
              <a:gd name="connsiteY338" fmla="*/ 2926397 h 3105260"/>
              <a:gd name="connsiteX339" fmla="*/ 2216129 w 3105279"/>
              <a:gd name="connsiteY339" fmla="*/ 2923897 h 3105260"/>
              <a:gd name="connsiteX340" fmla="*/ 2228741 w 3105279"/>
              <a:gd name="connsiteY340" fmla="*/ 2949985 h 3105260"/>
              <a:gd name="connsiteX341" fmla="*/ 2223447 w 3105279"/>
              <a:gd name="connsiteY341" fmla="*/ 2952540 h 3105260"/>
              <a:gd name="connsiteX342" fmla="*/ 880583 w 3105279"/>
              <a:gd name="connsiteY342" fmla="*/ 2951988 h 3105260"/>
              <a:gd name="connsiteX343" fmla="*/ 875307 w 3105279"/>
              <a:gd name="connsiteY343" fmla="*/ 2949452 h 3105260"/>
              <a:gd name="connsiteX344" fmla="*/ 887937 w 3105279"/>
              <a:gd name="connsiteY344" fmla="*/ 2923364 h 3105260"/>
              <a:gd name="connsiteX345" fmla="*/ 893103 w 3105279"/>
              <a:gd name="connsiteY345" fmla="*/ 2925864 h 3105260"/>
              <a:gd name="connsiteX346" fmla="*/ 880583 w 3105279"/>
              <a:gd name="connsiteY346" fmla="*/ 2951988 h 3105260"/>
              <a:gd name="connsiteX347" fmla="*/ 2241923 w 3105279"/>
              <a:gd name="connsiteY347" fmla="*/ 2943513 h 3105260"/>
              <a:gd name="connsiteX348" fmla="*/ 2229072 w 3105279"/>
              <a:gd name="connsiteY348" fmla="*/ 2917554 h 3105260"/>
              <a:gd name="connsiteX349" fmla="*/ 2233466 w 3105279"/>
              <a:gd name="connsiteY349" fmla="*/ 2915366 h 3105260"/>
              <a:gd name="connsiteX350" fmla="*/ 2234220 w 3105279"/>
              <a:gd name="connsiteY350" fmla="*/ 2914980 h 3105260"/>
              <a:gd name="connsiteX351" fmla="*/ 2247181 w 3105279"/>
              <a:gd name="connsiteY351" fmla="*/ 2940903 h 3105260"/>
              <a:gd name="connsiteX352" fmla="*/ 2246409 w 3105279"/>
              <a:gd name="connsiteY352" fmla="*/ 2941289 h 3105260"/>
              <a:gd name="connsiteX353" fmla="*/ 2241923 w 3105279"/>
              <a:gd name="connsiteY353" fmla="*/ 2943532 h 3105260"/>
              <a:gd name="connsiteX354" fmla="*/ 862180 w 3105279"/>
              <a:gd name="connsiteY354" fmla="*/ 2943017 h 3105260"/>
              <a:gd name="connsiteX355" fmla="*/ 856941 w 3105279"/>
              <a:gd name="connsiteY355" fmla="*/ 2940406 h 3105260"/>
              <a:gd name="connsiteX356" fmla="*/ 869902 w 3105279"/>
              <a:gd name="connsiteY356" fmla="*/ 2914502 h 3105260"/>
              <a:gd name="connsiteX357" fmla="*/ 875031 w 3105279"/>
              <a:gd name="connsiteY357" fmla="*/ 2917058 h 3105260"/>
              <a:gd name="connsiteX358" fmla="*/ 862162 w 3105279"/>
              <a:gd name="connsiteY358" fmla="*/ 2943017 h 3105260"/>
              <a:gd name="connsiteX359" fmla="*/ 2260252 w 3105279"/>
              <a:gd name="connsiteY359" fmla="*/ 2934284 h 3105260"/>
              <a:gd name="connsiteX360" fmla="*/ 2247034 w 3105279"/>
              <a:gd name="connsiteY360" fmla="*/ 2908491 h 3105260"/>
              <a:gd name="connsiteX361" fmla="*/ 2252145 w 3105279"/>
              <a:gd name="connsiteY361" fmla="*/ 2905862 h 3105260"/>
              <a:gd name="connsiteX362" fmla="*/ 2265437 w 3105279"/>
              <a:gd name="connsiteY362" fmla="*/ 2931600 h 3105260"/>
              <a:gd name="connsiteX363" fmla="*/ 2260234 w 3105279"/>
              <a:gd name="connsiteY363" fmla="*/ 2934266 h 3105260"/>
              <a:gd name="connsiteX364" fmla="*/ 843906 w 3105279"/>
              <a:gd name="connsiteY364" fmla="*/ 2933806 h 3105260"/>
              <a:gd name="connsiteX365" fmla="*/ 838703 w 3105279"/>
              <a:gd name="connsiteY365" fmla="*/ 2931122 h 3105260"/>
              <a:gd name="connsiteX366" fmla="*/ 852014 w 3105279"/>
              <a:gd name="connsiteY366" fmla="*/ 2905384 h 3105260"/>
              <a:gd name="connsiteX367" fmla="*/ 857106 w 3105279"/>
              <a:gd name="connsiteY367" fmla="*/ 2908013 h 3105260"/>
              <a:gd name="connsiteX368" fmla="*/ 843906 w 3105279"/>
              <a:gd name="connsiteY368" fmla="*/ 2933806 h 3105260"/>
              <a:gd name="connsiteX369" fmla="*/ 2278398 w 3105279"/>
              <a:gd name="connsiteY369" fmla="*/ 2924853 h 3105260"/>
              <a:gd name="connsiteX370" fmla="*/ 2264867 w 3105279"/>
              <a:gd name="connsiteY370" fmla="*/ 2899225 h 3105260"/>
              <a:gd name="connsiteX371" fmla="*/ 2269923 w 3105279"/>
              <a:gd name="connsiteY371" fmla="*/ 2896541 h 3105260"/>
              <a:gd name="connsiteX372" fmla="*/ 2283564 w 3105279"/>
              <a:gd name="connsiteY372" fmla="*/ 2922113 h 3105260"/>
              <a:gd name="connsiteX373" fmla="*/ 2278398 w 3105279"/>
              <a:gd name="connsiteY373" fmla="*/ 2924853 h 3105260"/>
              <a:gd name="connsiteX374" fmla="*/ 825742 w 3105279"/>
              <a:gd name="connsiteY374" fmla="*/ 2924357 h 3105260"/>
              <a:gd name="connsiteX375" fmla="*/ 820576 w 3105279"/>
              <a:gd name="connsiteY375" fmla="*/ 2921617 h 3105260"/>
              <a:gd name="connsiteX376" fmla="*/ 834218 w 3105279"/>
              <a:gd name="connsiteY376" fmla="*/ 2896063 h 3105260"/>
              <a:gd name="connsiteX377" fmla="*/ 839273 w 3105279"/>
              <a:gd name="connsiteY377" fmla="*/ 2898747 h 3105260"/>
              <a:gd name="connsiteX378" fmla="*/ 825724 w 3105279"/>
              <a:gd name="connsiteY378" fmla="*/ 2924357 h 3105260"/>
              <a:gd name="connsiteX379" fmla="*/ 2296396 w 3105279"/>
              <a:gd name="connsiteY379" fmla="*/ 2915201 h 3105260"/>
              <a:gd name="connsiteX380" fmla="*/ 2282535 w 3105279"/>
              <a:gd name="connsiteY380" fmla="*/ 2889757 h 3105260"/>
              <a:gd name="connsiteX381" fmla="*/ 2287535 w 3105279"/>
              <a:gd name="connsiteY381" fmla="*/ 2887017 h 3105260"/>
              <a:gd name="connsiteX382" fmla="*/ 2301507 w 3105279"/>
              <a:gd name="connsiteY382" fmla="*/ 2912407 h 3105260"/>
              <a:gd name="connsiteX383" fmla="*/ 2296378 w 3105279"/>
              <a:gd name="connsiteY383" fmla="*/ 2915219 h 3105260"/>
              <a:gd name="connsiteX384" fmla="*/ 807707 w 3105279"/>
              <a:gd name="connsiteY384" fmla="*/ 2914668 h 3105260"/>
              <a:gd name="connsiteX385" fmla="*/ 802578 w 3105279"/>
              <a:gd name="connsiteY385" fmla="*/ 2911855 h 3105260"/>
              <a:gd name="connsiteX386" fmla="*/ 816550 w 3105279"/>
              <a:gd name="connsiteY386" fmla="*/ 2886466 h 3105260"/>
              <a:gd name="connsiteX387" fmla="*/ 821587 w 3105279"/>
              <a:gd name="connsiteY387" fmla="*/ 2889224 h 3105260"/>
              <a:gd name="connsiteX388" fmla="*/ 807707 w 3105279"/>
              <a:gd name="connsiteY388" fmla="*/ 2914649 h 3105260"/>
              <a:gd name="connsiteX389" fmla="*/ 2314303 w 3105279"/>
              <a:gd name="connsiteY389" fmla="*/ 2905292 h 3105260"/>
              <a:gd name="connsiteX390" fmla="*/ 2300129 w 3105279"/>
              <a:gd name="connsiteY390" fmla="*/ 2880031 h 3105260"/>
              <a:gd name="connsiteX391" fmla="*/ 2305129 w 3105279"/>
              <a:gd name="connsiteY391" fmla="*/ 2877219 h 3105260"/>
              <a:gd name="connsiteX392" fmla="*/ 2319432 w 3105279"/>
              <a:gd name="connsiteY392" fmla="*/ 2902424 h 3105260"/>
              <a:gd name="connsiteX393" fmla="*/ 2314321 w 3105279"/>
              <a:gd name="connsiteY393" fmla="*/ 2905310 h 3105260"/>
              <a:gd name="connsiteX394" fmla="*/ 789819 w 3105279"/>
              <a:gd name="connsiteY394" fmla="*/ 2904740 h 3105260"/>
              <a:gd name="connsiteX395" fmla="*/ 784726 w 3105279"/>
              <a:gd name="connsiteY395" fmla="*/ 2901854 h 3105260"/>
              <a:gd name="connsiteX396" fmla="*/ 799030 w 3105279"/>
              <a:gd name="connsiteY396" fmla="*/ 2876667 h 3105260"/>
              <a:gd name="connsiteX397" fmla="*/ 804012 w 3105279"/>
              <a:gd name="connsiteY397" fmla="*/ 2879498 h 3105260"/>
              <a:gd name="connsiteX398" fmla="*/ 789800 w 3105279"/>
              <a:gd name="connsiteY398" fmla="*/ 2904740 h 3105260"/>
              <a:gd name="connsiteX399" fmla="*/ 2332099 w 3105279"/>
              <a:gd name="connsiteY399" fmla="*/ 2895125 h 3105260"/>
              <a:gd name="connsiteX400" fmla="*/ 2317557 w 3105279"/>
              <a:gd name="connsiteY400" fmla="*/ 2870067 h 3105260"/>
              <a:gd name="connsiteX401" fmla="*/ 2322521 w 3105279"/>
              <a:gd name="connsiteY401" fmla="*/ 2867181 h 3105260"/>
              <a:gd name="connsiteX402" fmla="*/ 2337137 w 3105279"/>
              <a:gd name="connsiteY402" fmla="*/ 2892202 h 3105260"/>
              <a:gd name="connsiteX403" fmla="*/ 2332081 w 3105279"/>
              <a:gd name="connsiteY403" fmla="*/ 2895143 h 3105260"/>
              <a:gd name="connsiteX404" fmla="*/ 772041 w 3105279"/>
              <a:gd name="connsiteY404" fmla="*/ 2894592 h 3105260"/>
              <a:gd name="connsiteX405" fmla="*/ 766985 w 3105279"/>
              <a:gd name="connsiteY405" fmla="*/ 2891650 h 3105260"/>
              <a:gd name="connsiteX406" fmla="*/ 781638 w 3105279"/>
              <a:gd name="connsiteY406" fmla="*/ 2866647 h 3105260"/>
              <a:gd name="connsiteX407" fmla="*/ 786583 w 3105279"/>
              <a:gd name="connsiteY407" fmla="*/ 2869534 h 3105260"/>
              <a:gd name="connsiteX408" fmla="*/ 772041 w 3105279"/>
              <a:gd name="connsiteY408" fmla="*/ 2894592 h 3105260"/>
              <a:gd name="connsiteX409" fmla="*/ 2349748 w 3105279"/>
              <a:gd name="connsiteY409" fmla="*/ 2884738 h 3105260"/>
              <a:gd name="connsiteX410" fmla="*/ 2334912 w 3105279"/>
              <a:gd name="connsiteY410" fmla="*/ 2859845 h 3105260"/>
              <a:gd name="connsiteX411" fmla="*/ 2339821 w 3105279"/>
              <a:gd name="connsiteY411" fmla="*/ 2856904 h 3105260"/>
              <a:gd name="connsiteX412" fmla="*/ 2354767 w 3105279"/>
              <a:gd name="connsiteY412" fmla="*/ 2881723 h 3105260"/>
              <a:gd name="connsiteX413" fmla="*/ 2349730 w 3105279"/>
              <a:gd name="connsiteY413" fmla="*/ 2884738 h 3105260"/>
              <a:gd name="connsiteX414" fmla="*/ 754410 w 3105279"/>
              <a:gd name="connsiteY414" fmla="*/ 2884205 h 3105260"/>
              <a:gd name="connsiteX415" fmla="*/ 749391 w 3105279"/>
              <a:gd name="connsiteY415" fmla="*/ 2881190 h 3105260"/>
              <a:gd name="connsiteX416" fmla="*/ 764356 w 3105279"/>
              <a:gd name="connsiteY416" fmla="*/ 2856389 h 3105260"/>
              <a:gd name="connsiteX417" fmla="*/ 769265 w 3105279"/>
              <a:gd name="connsiteY417" fmla="*/ 2859349 h 3105260"/>
              <a:gd name="connsiteX418" fmla="*/ 754392 w 3105279"/>
              <a:gd name="connsiteY418" fmla="*/ 2884223 h 3105260"/>
              <a:gd name="connsiteX419" fmla="*/ 2367287 w 3105279"/>
              <a:gd name="connsiteY419" fmla="*/ 2874111 h 3105260"/>
              <a:gd name="connsiteX420" fmla="*/ 2352102 w 3105279"/>
              <a:gd name="connsiteY420" fmla="*/ 2849440 h 3105260"/>
              <a:gd name="connsiteX421" fmla="*/ 2356992 w 3105279"/>
              <a:gd name="connsiteY421" fmla="*/ 2846424 h 3105260"/>
              <a:gd name="connsiteX422" fmla="*/ 2372270 w 3105279"/>
              <a:gd name="connsiteY422" fmla="*/ 2871041 h 3105260"/>
              <a:gd name="connsiteX423" fmla="*/ 2367287 w 3105279"/>
              <a:gd name="connsiteY423" fmla="*/ 2874111 h 3105260"/>
              <a:gd name="connsiteX424" fmla="*/ 736927 w 3105279"/>
              <a:gd name="connsiteY424" fmla="*/ 2873578 h 3105260"/>
              <a:gd name="connsiteX425" fmla="*/ 731963 w 3105279"/>
              <a:gd name="connsiteY425" fmla="*/ 2870508 h 3105260"/>
              <a:gd name="connsiteX426" fmla="*/ 747259 w 3105279"/>
              <a:gd name="connsiteY426" fmla="*/ 2845891 h 3105260"/>
              <a:gd name="connsiteX427" fmla="*/ 752149 w 3105279"/>
              <a:gd name="connsiteY427" fmla="*/ 2848906 h 3105260"/>
              <a:gd name="connsiteX428" fmla="*/ 736945 w 3105279"/>
              <a:gd name="connsiteY428" fmla="*/ 2873578 h 3105260"/>
              <a:gd name="connsiteX429" fmla="*/ 2384661 w 3105279"/>
              <a:gd name="connsiteY429" fmla="*/ 2863265 h 3105260"/>
              <a:gd name="connsiteX430" fmla="*/ 2369163 w 3105279"/>
              <a:gd name="connsiteY430" fmla="*/ 2838776 h 3105260"/>
              <a:gd name="connsiteX431" fmla="*/ 2374016 w 3105279"/>
              <a:gd name="connsiteY431" fmla="*/ 2835688 h 3105260"/>
              <a:gd name="connsiteX432" fmla="*/ 2389606 w 3105279"/>
              <a:gd name="connsiteY432" fmla="*/ 2860102 h 3105260"/>
              <a:gd name="connsiteX433" fmla="*/ 2384661 w 3105279"/>
              <a:gd name="connsiteY433" fmla="*/ 2863246 h 3105260"/>
              <a:gd name="connsiteX434" fmla="*/ 719571 w 3105279"/>
              <a:gd name="connsiteY434" fmla="*/ 2862732 h 3105260"/>
              <a:gd name="connsiteX435" fmla="*/ 714644 w 3105279"/>
              <a:gd name="connsiteY435" fmla="*/ 2859588 h 3105260"/>
              <a:gd name="connsiteX436" fmla="*/ 730253 w 3105279"/>
              <a:gd name="connsiteY436" fmla="*/ 2835173 h 3105260"/>
              <a:gd name="connsiteX437" fmla="*/ 735088 w 3105279"/>
              <a:gd name="connsiteY437" fmla="*/ 2838262 h 3105260"/>
              <a:gd name="connsiteX438" fmla="*/ 719553 w 3105279"/>
              <a:gd name="connsiteY438" fmla="*/ 2862732 h 3105260"/>
              <a:gd name="connsiteX439" fmla="*/ 2401924 w 3105279"/>
              <a:gd name="connsiteY439" fmla="*/ 2852197 h 3105260"/>
              <a:gd name="connsiteX440" fmla="*/ 2386076 w 3105279"/>
              <a:gd name="connsiteY440" fmla="*/ 2827929 h 3105260"/>
              <a:gd name="connsiteX441" fmla="*/ 2390893 w 3105279"/>
              <a:gd name="connsiteY441" fmla="*/ 2824767 h 3105260"/>
              <a:gd name="connsiteX442" fmla="*/ 2406796 w 3105279"/>
              <a:gd name="connsiteY442" fmla="*/ 2848980 h 3105260"/>
              <a:gd name="connsiteX443" fmla="*/ 2401905 w 3105279"/>
              <a:gd name="connsiteY443" fmla="*/ 2852179 h 3105260"/>
              <a:gd name="connsiteX444" fmla="*/ 702382 w 3105279"/>
              <a:gd name="connsiteY444" fmla="*/ 2851664 h 3105260"/>
              <a:gd name="connsiteX445" fmla="*/ 697492 w 3105279"/>
              <a:gd name="connsiteY445" fmla="*/ 2848447 h 3105260"/>
              <a:gd name="connsiteX446" fmla="*/ 713431 w 3105279"/>
              <a:gd name="connsiteY446" fmla="*/ 2824253 h 3105260"/>
              <a:gd name="connsiteX447" fmla="*/ 718211 w 3105279"/>
              <a:gd name="connsiteY447" fmla="*/ 2827396 h 3105260"/>
              <a:gd name="connsiteX448" fmla="*/ 702364 w 3105279"/>
              <a:gd name="connsiteY448" fmla="*/ 2851646 h 3105260"/>
              <a:gd name="connsiteX449" fmla="*/ 2419003 w 3105279"/>
              <a:gd name="connsiteY449" fmla="*/ 2840891 h 3105260"/>
              <a:gd name="connsiteX450" fmla="*/ 2402843 w 3105279"/>
              <a:gd name="connsiteY450" fmla="*/ 2816825 h 3105260"/>
              <a:gd name="connsiteX451" fmla="*/ 2407623 w 3105279"/>
              <a:gd name="connsiteY451" fmla="*/ 2813608 h 3105260"/>
              <a:gd name="connsiteX452" fmla="*/ 2423857 w 3105279"/>
              <a:gd name="connsiteY452" fmla="*/ 2837618 h 3105260"/>
              <a:gd name="connsiteX453" fmla="*/ 2419003 w 3105279"/>
              <a:gd name="connsiteY453" fmla="*/ 2840891 h 3105260"/>
              <a:gd name="connsiteX454" fmla="*/ 685321 w 3105279"/>
              <a:gd name="connsiteY454" fmla="*/ 2840357 h 3105260"/>
              <a:gd name="connsiteX455" fmla="*/ 680486 w 3105279"/>
              <a:gd name="connsiteY455" fmla="*/ 2837085 h 3105260"/>
              <a:gd name="connsiteX456" fmla="*/ 696738 w 3105279"/>
              <a:gd name="connsiteY456" fmla="*/ 2813093 h 3105260"/>
              <a:gd name="connsiteX457" fmla="*/ 701500 w 3105279"/>
              <a:gd name="connsiteY457" fmla="*/ 2816292 h 3105260"/>
              <a:gd name="connsiteX458" fmla="*/ 685339 w 3105279"/>
              <a:gd name="connsiteY458" fmla="*/ 2840339 h 3105260"/>
              <a:gd name="connsiteX459" fmla="*/ 2435935 w 3105279"/>
              <a:gd name="connsiteY459" fmla="*/ 2829364 h 3105260"/>
              <a:gd name="connsiteX460" fmla="*/ 2419481 w 3105279"/>
              <a:gd name="connsiteY460" fmla="*/ 2805519 h 3105260"/>
              <a:gd name="connsiteX461" fmla="*/ 2424206 w 3105279"/>
              <a:gd name="connsiteY461" fmla="*/ 2802246 h 3105260"/>
              <a:gd name="connsiteX462" fmla="*/ 2440752 w 3105279"/>
              <a:gd name="connsiteY462" fmla="*/ 2826036 h 3105260"/>
              <a:gd name="connsiteX463" fmla="*/ 2435935 w 3105279"/>
              <a:gd name="connsiteY463" fmla="*/ 2829364 h 3105260"/>
              <a:gd name="connsiteX464" fmla="*/ 668426 w 3105279"/>
              <a:gd name="connsiteY464" fmla="*/ 2828830 h 3105260"/>
              <a:gd name="connsiteX465" fmla="*/ 663627 w 3105279"/>
              <a:gd name="connsiteY465" fmla="*/ 2825503 h 3105260"/>
              <a:gd name="connsiteX466" fmla="*/ 680192 w 3105279"/>
              <a:gd name="connsiteY466" fmla="*/ 2801731 h 3105260"/>
              <a:gd name="connsiteX467" fmla="*/ 684898 w 3105279"/>
              <a:gd name="connsiteY467" fmla="*/ 2805004 h 3105260"/>
              <a:gd name="connsiteX468" fmla="*/ 668407 w 3105279"/>
              <a:gd name="connsiteY468" fmla="*/ 2828830 h 3105260"/>
              <a:gd name="connsiteX469" fmla="*/ 2452720 w 3105279"/>
              <a:gd name="connsiteY469" fmla="*/ 2817616 h 3105260"/>
              <a:gd name="connsiteX470" fmla="*/ 2435954 w 3105279"/>
              <a:gd name="connsiteY470" fmla="*/ 2793992 h 3105260"/>
              <a:gd name="connsiteX471" fmla="*/ 2440623 w 3105279"/>
              <a:gd name="connsiteY471" fmla="*/ 2790664 h 3105260"/>
              <a:gd name="connsiteX472" fmla="*/ 2457482 w 3105279"/>
              <a:gd name="connsiteY472" fmla="*/ 2814233 h 3105260"/>
              <a:gd name="connsiteX473" fmla="*/ 2452702 w 3105279"/>
              <a:gd name="connsiteY473" fmla="*/ 2817634 h 3105260"/>
              <a:gd name="connsiteX474" fmla="*/ 651696 w 3105279"/>
              <a:gd name="connsiteY474" fmla="*/ 2817101 h 3105260"/>
              <a:gd name="connsiteX475" fmla="*/ 646934 w 3105279"/>
              <a:gd name="connsiteY475" fmla="*/ 2813700 h 3105260"/>
              <a:gd name="connsiteX476" fmla="*/ 663830 w 3105279"/>
              <a:gd name="connsiteY476" fmla="*/ 2790168 h 3105260"/>
              <a:gd name="connsiteX477" fmla="*/ 668481 w 3105279"/>
              <a:gd name="connsiteY477" fmla="*/ 2793495 h 3105260"/>
              <a:gd name="connsiteX478" fmla="*/ 651696 w 3105279"/>
              <a:gd name="connsiteY478" fmla="*/ 2817101 h 3105260"/>
              <a:gd name="connsiteX479" fmla="*/ 2469359 w 3105279"/>
              <a:gd name="connsiteY479" fmla="*/ 2805647 h 3105260"/>
              <a:gd name="connsiteX480" fmla="*/ 2452298 w 3105279"/>
              <a:gd name="connsiteY480" fmla="*/ 2782226 h 3105260"/>
              <a:gd name="connsiteX481" fmla="*/ 2456931 w 3105279"/>
              <a:gd name="connsiteY481" fmla="*/ 2778843 h 3105260"/>
              <a:gd name="connsiteX482" fmla="*/ 2474102 w 3105279"/>
              <a:gd name="connsiteY482" fmla="*/ 2802173 h 3105260"/>
              <a:gd name="connsiteX483" fmla="*/ 2469377 w 3105279"/>
              <a:gd name="connsiteY483" fmla="*/ 2805647 h 3105260"/>
              <a:gd name="connsiteX484" fmla="*/ 635094 w 3105279"/>
              <a:gd name="connsiteY484" fmla="*/ 2805133 h 3105260"/>
              <a:gd name="connsiteX485" fmla="*/ 630388 w 3105279"/>
              <a:gd name="connsiteY485" fmla="*/ 2801677 h 3105260"/>
              <a:gd name="connsiteX486" fmla="*/ 647578 w 3105279"/>
              <a:gd name="connsiteY486" fmla="*/ 2778346 h 3105260"/>
              <a:gd name="connsiteX487" fmla="*/ 652192 w 3105279"/>
              <a:gd name="connsiteY487" fmla="*/ 2781747 h 3105260"/>
              <a:gd name="connsiteX488" fmla="*/ 635094 w 3105279"/>
              <a:gd name="connsiteY488" fmla="*/ 2805133 h 3105260"/>
              <a:gd name="connsiteX489" fmla="*/ 2485831 w 3105279"/>
              <a:gd name="connsiteY489" fmla="*/ 2793458 h 3105260"/>
              <a:gd name="connsiteX490" fmla="*/ 2468421 w 3105279"/>
              <a:gd name="connsiteY490" fmla="*/ 2770294 h 3105260"/>
              <a:gd name="connsiteX491" fmla="*/ 2473017 w 3105279"/>
              <a:gd name="connsiteY491" fmla="*/ 2766838 h 3105260"/>
              <a:gd name="connsiteX492" fmla="*/ 2490482 w 3105279"/>
              <a:gd name="connsiteY492" fmla="*/ 2789947 h 3105260"/>
              <a:gd name="connsiteX493" fmla="*/ 2485813 w 3105279"/>
              <a:gd name="connsiteY493" fmla="*/ 2793458 h 3105260"/>
              <a:gd name="connsiteX494" fmla="*/ 618677 w 3105279"/>
              <a:gd name="connsiteY494" fmla="*/ 2792962 h 3105260"/>
              <a:gd name="connsiteX495" fmla="*/ 614026 w 3105279"/>
              <a:gd name="connsiteY495" fmla="*/ 2789451 h 3105260"/>
              <a:gd name="connsiteX496" fmla="*/ 631510 w 3105279"/>
              <a:gd name="connsiteY496" fmla="*/ 2766341 h 3105260"/>
              <a:gd name="connsiteX497" fmla="*/ 636087 w 3105279"/>
              <a:gd name="connsiteY497" fmla="*/ 2769798 h 3105260"/>
              <a:gd name="connsiteX498" fmla="*/ 618677 w 3105279"/>
              <a:gd name="connsiteY498" fmla="*/ 2792962 h 3105260"/>
              <a:gd name="connsiteX499" fmla="*/ 2502138 w 3105279"/>
              <a:gd name="connsiteY499" fmla="*/ 2781049 h 3105260"/>
              <a:gd name="connsiteX500" fmla="*/ 2484434 w 3105279"/>
              <a:gd name="connsiteY500" fmla="*/ 2758105 h 3105260"/>
              <a:gd name="connsiteX501" fmla="*/ 2488993 w 3105279"/>
              <a:gd name="connsiteY501" fmla="*/ 2754575 h 3105260"/>
              <a:gd name="connsiteX502" fmla="*/ 2506771 w 3105279"/>
              <a:gd name="connsiteY502" fmla="*/ 2777464 h 3105260"/>
              <a:gd name="connsiteX503" fmla="*/ 2502156 w 3105279"/>
              <a:gd name="connsiteY503" fmla="*/ 2781049 h 3105260"/>
              <a:gd name="connsiteX504" fmla="*/ 602425 w 3105279"/>
              <a:gd name="connsiteY504" fmla="*/ 2780571 h 3105260"/>
              <a:gd name="connsiteX505" fmla="*/ 597811 w 3105279"/>
              <a:gd name="connsiteY505" fmla="*/ 2776986 h 3105260"/>
              <a:gd name="connsiteX506" fmla="*/ 615625 w 3105279"/>
              <a:gd name="connsiteY506" fmla="*/ 2754134 h 3105260"/>
              <a:gd name="connsiteX507" fmla="*/ 620148 w 3105279"/>
              <a:gd name="connsiteY507" fmla="*/ 2757645 h 3105260"/>
              <a:gd name="connsiteX508" fmla="*/ 602444 w 3105279"/>
              <a:gd name="connsiteY508" fmla="*/ 2780571 h 3105260"/>
              <a:gd name="connsiteX509" fmla="*/ 2518280 w 3105279"/>
              <a:gd name="connsiteY509" fmla="*/ 2768437 h 3105260"/>
              <a:gd name="connsiteX510" fmla="*/ 2500281 w 3105279"/>
              <a:gd name="connsiteY510" fmla="*/ 2745732 h 3105260"/>
              <a:gd name="connsiteX511" fmla="*/ 2504767 w 3105279"/>
              <a:gd name="connsiteY511" fmla="*/ 2742166 h 3105260"/>
              <a:gd name="connsiteX512" fmla="*/ 2522858 w 3105279"/>
              <a:gd name="connsiteY512" fmla="*/ 2764797 h 3105260"/>
              <a:gd name="connsiteX513" fmla="*/ 2518261 w 3105279"/>
              <a:gd name="connsiteY513" fmla="*/ 2768456 h 3105260"/>
              <a:gd name="connsiteX514" fmla="*/ 586320 w 3105279"/>
              <a:gd name="connsiteY514" fmla="*/ 2767959 h 3105260"/>
              <a:gd name="connsiteX515" fmla="*/ 581743 w 3105279"/>
              <a:gd name="connsiteY515" fmla="*/ 2764319 h 3105260"/>
              <a:gd name="connsiteX516" fmla="*/ 599851 w 3105279"/>
              <a:gd name="connsiteY516" fmla="*/ 2741706 h 3105260"/>
              <a:gd name="connsiteX517" fmla="*/ 604337 w 3105279"/>
              <a:gd name="connsiteY517" fmla="*/ 2745273 h 3105260"/>
              <a:gd name="connsiteX518" fmla="*/ 586320 w 3105279"/>
              <a:gd name="connsiteY518" fmla="*/ 2767959 h 3105260"/>
              <a:gd name="connsiteX519" fmla="*/ 2534256 w 3105279"/>
              <a:gd name="connsiteY519" fmla="*/ 2755586 h 3105260"/>
              <a:gd name="connsiteX520" fmla="*/ 2515963 w 3105279"/>
              <a:gd name="connsiteY520" fmla="*/ 2733120 h 3105260"/>
              <a:gd name="connsiteX521" fmla="*/ 2520412 w 3105279"/>
              <a:gd name="connsiteY521" fmla="*/ 2729480 h 3105260"/>
              <a:gd name="connsiteX522" fmla="*/ 2538797 w 3105279"/>
              <a:gd name="connsiteY522" fmla="*/ 2751873 h 3105260"/>
              <a:gd name="connsiteX523" fmla="*/ 2534256 w 3105279"/>
              <a:gd name="connsiteY523" fmla="*/ 2755586 h 3105260"/>
              <a:gd name="connsiteX524" fmla="*/ 570399 w 3105279"/>
              <a:gd name="connsiteY524" fmla="*/ 2755145 h 3105260"/>
              <a:gd name="connsiteX525" fmla="*/ 565877 w 3105279"/>
              <a:gd name="connsiteY525" fmla="*/ 2751450 h 3105260"/>
              <a:gd name="connsiteX526" fmla="*/ 584280 w 3105279"/>
              <a:gd name="connsiteY526" fmla="*/ 2729076 h 3105260"/>
              <a:gd name="connsiteX527" fmla="*/ 588710 w 3105279"/>
              <a:gd name="connsiteY527" fmla="*/ 2732698 h 3105260"/>
              <a:gd name="connsiteX528" fmla="*/ 570399 w 3105279"/>
              <a:gd name="connsiteY528" fmla="*/ 2755145 h 3105260"/>
              <a:gd name="connsiteX529" fmla="*/ 2550067 w 3105279"/>
              <a:gd name="connsiteY529" fmla="*/ 2742552 h 3105260"/>
              <a:gd name="connsiteX530" fmla="*/ 2531480 w 3105279"/>
              <a:gd name="connsiteY530" fmla="*/ 2720325 h 3105260"/>
              <a:gd name="connsiteX531" fmla="*/ 2535874 w 3105279"/>
              <a:gd name="connsiteY531" fmla="*/ 2716630 h 3105260"/>
              <a:gd name="connsiteX532" fmla="*/ 2554552 w 3105279"/>
              <a:gd name="connsiteY532" fmla="*/ 2738783 h 3105260"/>
              <a:gd name="connsiteX533" fmla="*/ 2550067 w 3105279"/>
              <a:gd name="connsiteY533" fmla="*/ 2742552 h 3105260"/>
              <a:gd name="connsiteX534" fmla="*/ 554662 w 3105279"/>
              <a:gd name="connsiteY534" fmla="*/ 2742129 h 3105260"/>
              <a:gd name="connsiteX535" fmla="*/ 550195 w 3105279"/>
              <a:gd name="connsiteY535" fmla="*/ 2738378 h 3105260"/>
              <a:gd name="connsiteX536" fmla="*/ 568892 w 3105279"/>
              <a:gd name="connsiteY536" fmla="*/ 2716243 h 3105260"/>
              <a:gd name="connsiteX537" fmla="*/ 573267 w 3105279"/>
              <a:gd name="connsiteY537" fmla="*/ 2719939 h 3105260"/>
              <a:gd name="connsiteX538" fmla="*/ 554662 w 3105279"/>
              <a:gd name="connsiteY538" fmla="*/ 2742147 h 3105260"/>
              <a:gd name="connsiteX539" fmla="*/ 2565693 w 3105279"/>
              <a:gd name="connsiteY539" fmla="*/ 2729297 h 3105260"/>
              <a:gd name="connsiteX540" fmla="*/ 2546794 w 3105279"/>
              <a:gd name="connsiteY540" fmla="*/ 2707327 h 3105260"/>
              <a:gd name="connsiteX541" fmla="*/ 2551151 w 3105279"/>
              <a:gd name="connsiteY541" fmla="*/ 2703576 h 3105260"/>
              <a:gd name="connsiteX542" fmla="*/ 2570124 w 3105279"/>
              <a:gd name="connsiteY542" fmla="*/ 2725472 h 3105260"/>
              <a:gd name="connsiteX543" fmla="*/ 2565693 w 3105279"/>
              <a:gd name="connsiteY543" fmla="*/ 2729297 h 3105260"/>
              <a:gd name="connsiteX544" fmla="*/ 539072 w 3105279"/>
              <a:gd name="connsiteY544" fmla="*/ 2728892 h 3105260"/>
              <a:gd name="connsiteX545" fmla="*/ 534660 w 3105279"/>
              <a:gd name="connsiteY545" fmla="*/ 2725086 h 3105260"/>
              <a:gd name="connsiteX546" fmla="*/ 553633 w 3105279"/>
              <a:gd name="connsiteY546" fmla="*/ 2703190 h 3105260"/>
              <a:gd name="connsiteX547" fmla="*/ 557971 w 3105279"/>
              <a:gd name="connsiteY547" fmla="*/ 2706941 h 3105260"/>
              <a:gd name="connsiteX548" fmla="*/ 539054 w 3105279"/>
              <a:gd name="connsiteY548" fmla="*/ 2728892 h 3105260"/>
              <a:gd name="connsiteX549" fmla="*/ 2581136 w 3105279"/>
              <a:gd name="connsiteY549" fmla="*/ 2715821 h 3105260"/>
              <a:gd name="connsiteX550" fmla="*/ 2561962 w 3105279"/>
              <a:gd name="connsiteY550" fmla="*/ 2694109 h 3105260"/>
              <a:gd name="connsiteX551" fmla="*/ 2566245 w 3105279"/>
              <a:gd name="connsiteY551" fmla="*/ 2690321 h 3105260"/>
              <a:gd name="connsiteX552" fmla="*/ 2585512 w 3105279"/>
              <a:gd name="connsiteY552" fmla="*/ 2711960 h 3105260"/>
              <a:gd name="connsiteX553" fmla="*/ 2581155 w 3105279"/>
              <a:gd name="connsiteY553" fmla="*/ 2715821 h 3105260"/>
              <a:gd name="connsiteX554" fmla="*/ 523684 w 3105279"/>
              <a:gd name="connsiteY554" fmla="*/ 2715453 h 3105260"/>
              <a:gd name="connsiteX555" fmla="*/ 519327 w 3105279"/>
              <a:gd name="connsiteY555" fmla="*/ 2711592 h 3105260"/>
              <a:gd name="connsiteX556" fmla="*/ 538594 w 3105279"/>
              <a:gd name="connsiteY556" fmla="*/ 2689954 h 3105260"/>
              <a:gd name="connsiteX557" fmla="*/ 542878 w 3105279"/>
              <a:gd name="connsiteY557" fmla="*/ 2693759 h 3105260"/>
              <a:gd name="connsiteX558" fmla="*/ 523684 w 3105279"/>
              <a:gd name="connsiteY558" fmla="*/ 2715471 h 3105260"/>
              <a:gd name="connsiteX559" fmla="*/ 2596341 w 3105279"/>
              <a:gd name="connsiteY559" fmla="*/ 2702216 h 3105260"/>
              <a:gd name="connsiteX560" fmla="*/ 2576871 w 3105279"/>
              <a:gd name="connsiteY560" fmla="*/ 2680743 h 3105260"/>
              <a:gd name="connsiteX561" fmla="*/ 2581100 w 3105279"/>
              <a:gd name="connsiteY561" fmla="*/ 2676901 h 3105260"/>
              <a:gd name="connsiteX562" fmla="*/ 2600642 w 3105279"/>
              <a:gd name="connsiteY562" fmla="*/ 2698282 h 3105260"/>
              <a:gd name="connsiteX563" fmla="*/ 2596322 w 3105279"/>
              <a:gd name="connsiteY563" fmla="*/ 2702216 h 3105260"/>
              <a:gd name="connsiteX564" fmla="*/ 508480 w 3105279"/>
              <a:gd name="connsiteY564" fmla="*/ 2701830 h 3105260"/>
              <a:gd name="connsiteX565" fmla="*/ 504160 w 3105279"/>
              <a:gd name="connsiteY565" fmla="*/ 2697896 h 3105260"/>
              <a:gd name="connsiteX566" fmla="*/ 523702 w 3105279"/>
              <a:gd name="connsiteY566" fmla="*/ 2676514 h 3105260"/>
              <a:gd name="connsiteX567" fmla="*/ 527931 w 3105279"/>
              <a:gd name="connsiteY567" fmla="*/ 2680375 h 3105260"/>
              <a:gd name="connsiteX568" fmla="*/ 508462 w 3105279"/>
              <a:gd name="connsiteY568" fmla="*/ 2701830 h 3105260"/>
              <a:gd name="connsiteX569" fmla="*/ 2611379 w 3105279"/>
              <a:gd name="connsiteY569" fmla="*/ 2688409 h 3105260"/>
              <a:gd name="connsiteX570" fmla="*/ 2591634 w 3105279"/>
              <a:gd name="connsiteY570" fmla="*/ 2667212 h 3105260"/>
              <a:gd name="connsiteX571" fmla="*/ 2595807 w 3105279"/>
              <a:gd name="connsiteY571" fmla="*/ 2663296 h 3105260"/>
              <a:gd name="connsiteX572" fmla="*/ 2615644 w 3105279"/>
              <a:gd name="connsiteY572" fmla="*/ 2684420 h 3105260"/>
              <a:gd name="connsiteX573" fmla="*/ 2611379 w 3105279"/>
              <a:gd name="connsiteY573" fmla="*/ 2688391 h 3105260"/>
              <a:gd name="connsiteX574" fmla="*/ 493441 w 3105279"/>
              <a:gd name="connsiteY574" fmla="*/ 2687986 h 3105260"/>
              <a:gd name="connsiteX575" fmla="*/ 489195 w 3105279"/>
              <a:gd name="connsiteY575" fmla="*/ 2684015 h 3105260"/>
              <a:gd name="connsiteX576" fmla="*/ 509032 w 3105279"/>
              <a:gd name="connsiteY576" fmla="*/ 2662891 h 3105260"/>
              <a:gd name="connsiteX577" fmla="*/ 513223 w 3105279"/>
              <a:gd name="connsiteY577" fmla="*/ 2666807 h 3105260"/>
              <a:gd name="connsiteX578" fmla="*/ 493460 w 3105279"/>
              <a:gd name="connsiteY578" fmla="*/ 2687986 h 3105260"/>
              <a:gd name="connsiteX579" fmla="*/ 2626215 w 3105279"/>
              <a:gd name="connsiteY579" fmla="*/ 2674400 h 3105260"/>
              <a:gd name="connsiteX580" fmla="*/ 2606176 w 3105279"/>
              <a:gd name="connsiteY580" fmla="*/ 2653478 h 3105260"/>
              <a:gd name="connsiteX581" fmla="*/ 2610313 w 3105279"/>
              <a:gd name="connsiteY581" fmla="*/ 2649508 h 3105260"/>
              <a:gd name="connsiteX582" fmla="*/ 2630407 w 3105279"/>
              <a:gd name="connsiteY582" fmla="*/ 2670374 h 3105260"/>
              <a:gd name="connsiteX583" fmla="*/ 2626215 w 3105279"/>
              <a:gd name="connsiteY583" fmla="*/ 2674400 h 3105260"/>
              <a:gd name="connsiteX584" fmla="*/ 478605 w 3105279"/>
              <a:gd name="connsiteY584" fmla="*/ 2673959 h 3105260"/>
              <a:gd name="connsiteX585" fmla="*/ 474413 w 3105279"/>
              <a:gd name="connsiteY585" fmla="*/ 2669914 h 3105260"/>
              <a:gd name="connsiteX586" fmla="*/ 494526 w 3105279"/>
              <a:gd name="connsiteY586" fmla="*/ 2649066 h 3105260"/>
              <a:gd name="connsiteX587" fmla="*/ 498663 w 3105279"/>
              <a:gd name="connsiteY587" fmla="*/ 2653037 h 3105260"/>
              <a:gd name="connsiteX588" fmla="*/ 478624 w 3105279"/>
              <a:gd name="connsiteY588" fmla="*/ 2673959 h 3105260"/>
              <a:gd name="connsiteX589" fmla="*/ 2640868 w 3105279"/>
              <a:gd name="connsiteY589" fmla="*/ 2660189 h 3105260"/>
              <a:gd name="connsiteX590" fmla="*/ 2620571 w 3105279"/>
              <a:gd name="connsiteY590" fmla="*/ 2639506 h 3105260"/>
              <a:gd name="connsiteX591" fmla="*/ 2624634 w 3105279"/>
              <a:gd name="connsiteY591" fmla="*/ 2635499 h 3105260"/>
              <a:gd name="connsiteX592" fmla="*/ 2645023 w 3105279"/>
              <a:gd name="connsiteY592" fmla="*/ 2656089 h 3105260"/>
              <a:gd name="connsiteX593" fmla="*/ 2640868 w 3105279"/>
              <a:gd name="connsiteY593" fmla="*/ 2660189 h 3105260"/>
              <a:gd name="connsiteX594" fmla="*/ 463953 w 3105279"/>
              <a:gd name="connsiteY594" fmla="*/ 2659748 h 3105260"/>
              <a:gd name="connsiteX595" fmla="*/ 459798 w 3105279"/>
              <a:gd name="connsiteY595" fmla="*/ 2655648 h 3105260"/>
              <a:gd name="connsiteX596" fmla="*/ 480205 w 3105279"/>
              <a:gd name="connsiteY596" fmla="*/ 2635076 h 3105260"/>
              <a:gd name="connsiteX597" fmla="*/ 484268 w 3105279"/>
              <a:gd name="connsiteY597" fmla="*/ 2639083 h 3105260"/>
              <a:gd name="connsiteX598" fmla="*/ 463953 w 3105279"/>
              <a:gd name="connsiteY598" fmla="*/ 2659748 h 3105260"/>
              <a:gd name="connsiteX599" fmla="*/ 2655337 w 3105279"/>
              <a:gd name="connsiteY599" fmla="*/ 2645794 h 3105260"/>
              <a:gd name="connsiteX600" fmla="*/ 2634764 w 3105279"/>
              <a:gd name="connsiteY600" fmla="*/ 2625387 h 3105260"/>
              <a:gd name="connsiteX601" fmla="*/ 2638790 w 3105279"/>
              <a:gd name="connsiteY601" fmla="*/ 2621324 h 3105260"/>
              <a:gd name="connsiteX602" fmla="*/ 2659436 w 3105279"/>
              <a:gd name="connsiteY602" fmla="*/ 2641657 h 3105260"/>
              <a:gd name="connsiteX603" fmla="*/ 2655337 w 3105279"/>
              <a:gd name="connsiteY603" fmla="*/ 2645794 h 3105260"/>
              <a:gd name="connsiteX604" fmla="*/ 449484 w 3105279"/>
              <a:gd name="connsiteY604" fmla="*/ 2645334 h 3105260"/>
              <a:gd name="connsiteX605" fmla="*/ 445384 w 3105279"/>
              <a:gd name="connsiteY605" fmla="*/ 2641179 h 3105260"/>
              <a:gd name="connsiteX606" fmla="*/ 466049 w 3105279"/>
              <a:gd name="connsiteY606" fmla="*/ 2620864 h 3105260"/>
              <a:gd name="connsiteX607" fmla="*/ 470056 w 3105279"/>
              <a:gd name="connsiteY607" fmla="*/ 2624946 h 3105260"/>
              <a:gd name="connsiteX608" fmla="*/ 449466 w 3105279"/>
              <a:gd name="connsiteY608" fmla="*/ 2645334 h 3105260"/>
              <a:gd name="connsiteX609" fmla="*/ 2669640 w 3105279"/>
              <a:gd name="connsiteY609" fmla="*/ 2631178 h 3105260"/>
              <a:gd name="connsiteX610" fmla="*/ 2648792 w 3105279"/>
              <a:gd name="connsiteY610" fmla="*/ 2611065 h 3105260"/>
              <a:gd name="connsiteX611" fmla="*/ 2652763 w 3105279"/>
              <a:gd name="connsiteY611" fmla="*/ 2606929 h 3105260"/>
              <a:gd name="connsiteX612" fmla="*/ 2673684 w 3105279"/>
              <a:gd name="connsiteY612" fmla="*/ 2626968 h 3105260"/>
              <a:gd name="connsiteX613" fmla="*/ 2669640 w 3105279"/>
              <a:gd name="connsiteY613" fmla="*/ 2631160 h 3105260"/>
              <a:gd name="connsiteX614" fmla="*/ 435218 w 3105279"/>
              <a:gd name="connsiteY614" fmla="*/ 2630737 h 3105260"/>
              <a:gd name="connsiteX615" fmla="*/ 431173 w 3105279"/>
              <a:gd name="connsiteY615" fmla="*/ 2626527 h 3105260"/>
              <a:gd name="connsiteX616" fmla="*/ 452113 w 3105279"/>
              <a:gd name="connsiteY616" fmla="*/ 2606506 h 3105260"/>
              <a:gd name="connsiteX617" fmla="*/ 456066 w 3105279"/>
              <a:gd name="connsiteY617" fmla="*/ 2610624 h 3105260"/>
              <a:gd name="connsiteX618" fmla="*/ 435218 w 3105279"/>
              <a:gd name="connsiteY618" fmla="*/ 2630737 h 3105260"/>
              <a:gd name="connsiteX619" fmla="*/ 2683722 w 3105279"/>
              <a:gd name="connsiteY619" fmla="*/ 2616415 h 3105260"/>
              <a:gd name="connsiteX620" fmla="*/ 2662617 w 3105279"/>
              <a:gd name="connsiteY620" fmla="*/ 2596560 h 3105260"/>
              <a:gd name="connsiteX621" fmla="*/ 2666533 w 3105279"/>
              <a:gd name="connsiteY621" fmla="*/ 2592387 h 3105260"/>
              <a:gd name="connsiteX622" fmla="*/ 2687712 w 3105279"/>
              <a:gd name="connsiteY622" fmla="*/ 2612150 h 3105260"/>
              <a:gd name="connsiteX623" fmla="*/ 2683722 w 3105279"/>
              <a:gd name="connsiteY623" fmla="*/ 2616397 h 3105260"/>
              <a:gd name="connsiteX624" fmla="*/ 421135 w 3105279"/>
              <a:gd name="connsiteY624" fmla="*/ 2615937 h 3105260"/>
              <a:gd name="connsiteX625" fmla="*/ 417164 w 3105279"/>
              <a:gd name="connsiteY625" fmla="*/ 2611690 h 3105260"/>
              <a:gd name="connsiteX626" fmla="*/ 438361 w 3105279"/>
              <a:gd name="connsiteY626" fmla="*/ 2591927 h 3105260"/>
              <a:gd name="connsiteX627" fmla="*/ 442277 w 3105279"/>
              <a:gd name="connsiteY627" fmla="*/ 2596119 h 3105260"/>
              <a:gd name="connsiteX628" fmla="*/ 421153 w 3105279"/>
              <a:gd name="connsiteY628" fmla="*/ 2615956 h 3105260"/>
              <a:gd name="connsiteX629" fmla="*/ 2697603 w 3105279"/>
              <a:gd name="connsiteY629" fmla="*/ 2601432 h 3105260"/>
              <a:gd name="connsiteX630" fmla="*/ 2676221 w 3105279"/>
              <a:gd name="connsiteY630" fmla="*/ 2581871 h 3105260"/>
              <a:gd name="connsiteX631" fmla="*/ 2680082 w 3105279"/>
              <a:gd name="connsiteY631" fmla="*/ 2577642 h 3105260"/>
              <a:gd name="connsiteX632" fmla="*/ 2701519 w 3105279"/>
              <a:gd name="connsiteY632" fmla="*/ 2597130 h 3105260"/>
              <a:gd name="connsiteX633" fmla="*/ 2697584 w 3105279"/>
              <a:gd name="connsiteY633" fmla="*/ 2601432 h 3105260"/>
              <a:gd name="connsiteX634" fmla="*/ 407273 w 3105279"/>
              <a:gd name="connsiteY634" fmla="*/ 2600972 h 3105260"/>
              <a:gd name="connsiteX635" fmla="*/ 403357 w 3105279"/>
              <a:gd name="connsiteY635" fmla="*/ 2596670 h 3105260"/>
              <a:gd name="connsiteX636" fmla="*/ 424812 w 3105279"/>
              <a:gd name="connsiteY636" fmla="*/ 2577183 h 3105260"/>
              <a:gd name="connsiteX637" fmla="*/ 428673 w 3105279"/>
              <a:gd name="connsiteY637" fmla="*/ 2581411 h 3105260"/>
              <a:gd name="connsiteX638" fmla="*/ 407291 w 3105279"/>
              <a:gd name="connsiteY638" fmla="*/ 2600954 h 3105260"/>
              <a:gd name="connsiteX639" fmla="*/ 2711299 w 3105279"/>
              <a:gd name="connsiteY639" fmla="*/ 2586265 h 3105260"/>
              <a:gd name="connsiteX640" fmla="*/ 2689661 w 3105279"/>
              <a:gd name="connsiteY640" fmla="*/ 2566998 h 3105260"/>
              <a:gd name="connsiteX641" fmla="*/ 2693466 w 3105279"/>
              <a:gd name="connsiteY641" fmla="*/ 2562714 h 3105260"/>
              <a:gd name="connsiteX642" fmla="*/ 2715178 w 3105279"/>
              <a:gd name="connsiteY642" fmla="*/ 2581908 h 3105260"/>
              <a:gd name="connsiteX643" fmla="*/ 2711299 w 3105279"/>
              <a:gd name="connsiteY643" fmla="*/ 2586265 h 3105260"/>
              <a:gd name="connsiteX644" fmla="*/ 393595 w 3105279"/>
              <a:gd name="connsiteY644" fmla="*/ 2585823 h 3105260"/>
              <a:gd name="connsiteX645" fmla="*/ 389734 w 3105279"/>
              <a:gd name="connsiteY645" fmla="*/ 2581466 h 3105260"/>
              <a:gd name="connsiteX646" fmla="*/ 411446 w 3105279"/>
              <a:gd name="connsiteY646" fmla="*/ 2562273 h 3105260"/>
              <a:gd name="connsiteX647" fmla="*/ 415252 w 3105279"/>
              <a:gd name="connsiteY647" fmla="*/ 2566557 h 3105260"/>
              <a:gd name="connsiteX648" fmla="*/ 393613 w 3105279"/>
              <a:gd name="connsiteY648" fmla="*/ 2585823 h 3105260"/>
              <a:gd name="connsiteX649" fmla="*/ 2724793 w 3105279"/>
              <a:gd name="connsiteY649" fmla="*/ 2570932 h 3105260"/>
              <a:gd name="connsiteX650" fmla="*/ 2702916 w 3105279"/>
              <a:gd name="connsiteY650" fmla="*/ 2551941 h 3105260"/>
              <a:gd name="connsiteX651" fmla="*/ 2706666 w 3105279"/>
              <a:gd name="connsiteY651" fmla="*/ 2547602 h 3105260"/>
              <a:gd name="connsiteX652" fmla="*/ 2728617 w 3105279"/>
              <a:gd name="connsiteY652" fmla="*/ 2566520 h 3105260"/>
              <a:gd name="connsiteX653" fmla="*/ 2724793 w 3105279"/>
              <a:gd name="connsiteY653" fmla="*/ 2570932 h 3105260"/>
              <a:gd name="connsiteX654" fmla="*/ 380137 w 3105279"/>
              <a:gd name="connsiteY654" fmla="*/ 2570491 h 3105260"/>
              <a:gd name="connsiteX655" fmla="*/ 376314 w 3105279"/>
              <a:gd name="connsiteY655" fmla="*/ 2566060 h 3105260"/>
              <a:gd name="connsiteX656" fmla="*/ 398283 w 3105279"/>
              <a:gd name="connsiteY656" fmla="*/ 2547179 h 3105260"/>
              <a:gd name="connsiteX657" fmla="*/ 402033 w 3105279"/>
              <a:gd name="connsiteY657" fmla="*/ 2551518 h 3105260"/>
              <a:gd name="connsiteX658" fmla="*/ 380137 w 3105279"/>
              <a:gd name="connsiteY658" fmla="*/ 2570509 h 3105260"/>
              <a:gd name="connsiteX659" fmla="*/ 2738085 w 3105279"/>
              <a:gd name="connsiteY659" fmla="*/ 2555415 h 3105260"/>
              <a:gd name="connsiteX660" fmla="*/ 2715951 w 3105279"/>
              <a:gd name="connsiteY660" fmla="*/ 2536718 h 3105260"/>
              <a:gd name="connsiteX661" fmla="*/ 2719627 w 3105279"/>
              <a:gd name="connsiteY661" fmla="*/ 2532343 h 3105260"/>
              <a:gd name="connsiteX662" fmla="*/ 2741836 w 3105279"/>
              <a:gd name="connsiteY662" fmla="*/ 2550948 h 3105260"/>
              <a:gd name="connsiteX663" fmla="*/ 2738067 w 3105279"/>
              <a:gd name="connsiteY663" fmla="*/ 2555415 h 3105260"/>
              <a:gd name="connsiteX664" fmla="*/ 366809 w 3105279"/>
              <a:gd name="connsiteY664" fmla="*/ 2554919 h 3105260"/>
              <a:gd name="connsiteX665" fmla="*/ 363040 w 3105279"/>
              <a:gd name="connsiteY665" fmla="*/ 2550433 h 3105260"/>
              <a:gd name="connsiteX666" fmla="*/ 385248 w 3105279"/>
              <a:gd name="connsiteY666" fmla="*/ 2531828 h 3105260"/>
              <a:gd name="connsiteX667" fmla="*/ 388944 w 3105279"/>
              <a:gd name="connsiteY667" fmla="*/ 2536222 h 3105260"/>
              <a:gd name="connsiteX668" fmla="*/ 366809 w 3105279"/>
              <a:gd name="connsiteY668" fmla="*/ 2554901 h 3105260"/>
              <a:gd name="connsiteX669" fmla="*/ 2751175 w 3105279"/>
              <a:gd name="connsiteY669" fmla="*/ 2539715 h 3105260"/>
              <a:gd name="connsiteX670" fmla="*/ 2728783 w 3105279"/>
              <a:gd name="connsiteY670" fmla="*/ 2521330 h 3105260"/>
              <a:gd name="connsiteX671" fmla="*/ 2732423 w 3105279"/>
              <a:gd name="connsiteY671" fmla="*/ 2516881 h 3105260"/>
              <a:gd name="connsiteX672" fmla="*/ 2754852 w 3105279"/>
              <a:gd name="connsiteY672" fmla="*/ 2535211 h 3105260"/>
              <a:gd name="connsiteX673" fmla="*/ 2751157 w 3105279"/>
              <a:gd name="connsiteY673" fmla="*/ 2539715 h 3105260"/>
              <a:gd name="connsiteX674" fmla="*/ 353700 w 3105279"/>
              <a:gd name="connsiteY674" fmla="*/ 2539163 h 3105260"/>
              <a:gd name="connsiteX675" fmla="*/ 350005 w 3105279"/>
              <a:gd name="connsiteY675" fmla="*/ 2534641 h 3105260"/>
              <a:gd name="connsiteX676" fmla="*/ 372453 w 3105279"/>
              <a:gd name="connsiteY676" fmla="*/ 2516330 h 3105260"/>
              <a:gd name="connsiteX677" fmla="*/ 376093 w 3105279"/>
              <a:gd name="connsiteY677" fmla="*/ 2520779 h 3105260"/>
              <a:gd name="connsiteX678" fmla="*/ 353700 w 3105279"/>
              <a:gd name="connsiteY678" fmla="*/ 2539163 h 3105260"/>
              <a:gd name="connsiteX679" fmla="*/ 2764063 w 3105279"/>
              <a:gd name="connsiteY679" fmla="*/ 2523849 h 3105260"/>
              <a:gd name="connsiteX680" fmla="*/ 2741432 w 3105279"/>
              <a:gd name="connsiteY680" fmla="*/ 2505759 h 3105260"/>
              <a:gd name="connsiteX681" fmla="*/ 2745016 w 3105279"/>
              <a:gd name="connsiteY681" fmla="*/ 2501273 h 3105260"/>
              <a:gd name="connsiteX682" fmla="*/ 2767703 w 3105279"/>
              <a:gd name="connsiteY682" fmla="*/ 2519308 h 3105260"/>
              <a:gd name="connsiteX683" fmla="*/ 2764081 w 3105279"/>
              <a:gd name="connsiteY683" fmla="*/ 2523867 h 3105260"/>
              <a:gd name="connsiteX684" fmla="*/ 340795 w 3105279"/>
              <a:gd name="connsiteY684" fmla="*/ 2523242 h 3105260"/>
              <a:gd name="connsiteX685" fmla="*/ 337154 w 3105279"/>
              <a:gd name="connsiteY685" fmla="*/ 2518665 h 3105260"/>
              <a:gd name="connsiteX686" fmla="*/ 359859 w 3105279"/>
              <a:gd name="connsiteY686" fmla="*/ 2500666 h 3105260"/>
              <a:gd name="connsiteX687" fmla="*/ 363444 w 3105279"/>
              <a:gd name="connsiteY687" fmla="*/ 2505152 h 3105260"/>
              <a:gd name="connsiteX688" fmla="*/ 340813 w 3105279"/>
              <a:gd name="connsiteY688" fmla="*/ 2523242 h 3105260"/>
              <a:gd name="connsiteX689" fmla="*/ 2776730 w 3105279"/>
              <a:gd name="connsiteY689" fmla="*/ 2507799 h 3105260"/>
              <a:gd name="connsiteX690" fmla="*/ 2753860 w 3105279"/>
              <a:gd name="connsiteY690" fmla="*/ 2490003 h 3105260"/>
              <a:gd name="connsiteX691" fmla="*/ 2757389 w 3105279"/>
              <a:gd name="connsiteY691" fmla="*/ 2485462 h 3105260"/>
              <a:gd name="connsiteX692" fmla="*/ 2780315 w 3105279"/>
              <a:gd name="connsiteY692" fmla="*/ 2503185 h 3105260"/>
              <a:gd name="connsiteX693" fmla="*/ 2776748 w 3105279"/>
              <a:gd name="connsiteY693" fmla="*/ 2507781 h 3105260"/>
              <a:gd name="connsiteX694" fmla="*/ 328109 w 3105279"/>
              <a:gd name="connsiteY694" fmla="*/ 2507156 h 3105260"/>
              <a:gd name="connsiteX695" fmla="*/ 324524 w 3105279"/>
              <a:gd name="connsiteY695" fmla="*/ 2502523 h 3105260"/>
              <a:gd name="connsiteX696" fmla="*/ 347468 w 3105279"/>
              <a:gd name="connsiteY696" fmla="*/ 2484837 h 3105260"/>
              <a:gd name="connsiteX697" fmla="*/ 350980 w 3105279"/>
              <a:gd name="connsiteY697" fmla="*/ 2489378 h 3105260"/>
              <a:gd name="connsiteX698" fmla="*/ 328109 w 3105279"/>
              <a:gd name="connsiteY698" fmla="*/ 2507174 h 3105260"/>
              <a:gd name="connsiteX699" fmla="*/ 2789195 w 3105279"/>
              <a:gd name="connsiteY699" fmla="*/ 2491603 h 3105260"/>
              <a:gd name="connsiteX700" fmla="*/ 2766085 w 3105279"/>
              <a:gd name="connsiteY700" fmla="*/ 2474119 h 3105260"/>
              <a:gd name="connsiteX701" fmla="*/ 2769541 w 3105279"/>
              <a:gd name="connsiteY701" fmla="*/ 2469541 h 3105260"/>
              <a:gd name="connsiteX702" fmla="*/ 2792706 w 3105279"/>
              <a:gd name="connsiteY702" fmla="*/ 2486951 h 3105260"/>
              <a:gd name="connsiteX703" fmla="*/ 2789195 w 3105279"/>
              <a:gd name="connsiteY703" fmla="*/ 2491603 h 3105260"/>
              <a:gd name="connsiteX704" fmla="*/ 315644 w 3105279"/>
              <a:gd name="connsiteY704" fmla="*/ 2490904 h 3105260"/>
              <a:gd name="connsiteX705" fmla="*/ 312115 w 3105279"/>
              <a:gd name="connsiteY705" fmla="*/ 2486216 h 3105260"/>
              <a:gd name="connsiteX706" fmla="*/ 335298 w 3105279"/>
              <a:gd name="connsiteY706" fmla="*/ 2468824 h 3105260"/>
              <a:gd name="connsiteX707" fmla="*/ 338754 w 3105279"/>
              <a:gd name="connsiteY707" fmla="*/ 2473402 h 3105260"/>
              <a:gd name="connsiteX708" fmla="*/ 315663 w 3105279"/>
              <a:gd name="connsiteY708" fmla="*/ 2490886 h 3105260"/>
              <a:gd name="connsiteX709" fmla="*/ 2801420 w 3105279"/>
              <a:gd name="connsiteY709" fmla="*/ 2475240 h 3105260"/>
              <a:gd name="connsiteX710" fmla="*/ 2778109 w 3105279"/>
              <a:gd name="connsiteY710" fmla="*/ 2458032 h 3105260"/>
              <a:gd name="connsiteX711" fmla="*/ 2781491 w 3105279"/>
              <a:gd name="connsiteY711" fmla="*/ 2453418 h 3105260"/>
              <a:gd name="connsiteX712" fmla="*/ 2804877 w 3105279"/>
              <a:gd name="connsiteY712" fmla="*/ 2470534 h 3105260"/>
              <a:gd name="connsiteX713" fmla="*/ 2801420 w 3105279"/>
              <a:gd name="connsiteY713" fmla="*/ 2475240 h 3105260"/>
              <a:gd name="connsiteX714" fmla="*/ 303382 w 3105279"/>
              <a:gd name="connsiteY714" fmla="*/ 2474487 h 3105260"/>
              <a:gd name="connsiteX715" fmla="*/ 299907 w 3105279"/>
              <a:gd name="connsiteY715" fmla="*/ 2469762 h 3105260"/>
              <a:gd name="connsiteX716" fmla="*/ 323311 w 3105279"/>
              <a:gd name="connsiteY716" fmla="*/ 2452683 h 3105260"/>
              <a:gd name="connsiteX717" fmla="*/ 326694 w 3105279"/>
              <a:gd name="connsiteY717" fmla="*/ 2457315 h 3105260"/>
              <a:gd name="connsiteX718" fmla="*/ 303364 w 3105279"/>
              <a:gd name="connsiteY718" fmla="*/ 2474505 h 3105260"/>
              <a:gd name="connsiteX719" fmla="*/ 2813462 w 3105279"/>
              <a:gd name="connsiteY719" fmla="*/ 2458694 h 3105260"/>
              <a:gd name="connsiteX720" fmla="*/ 2789930 w 3105279"/>
              <a:gd name="connsiteY720" fmla="*/ 2441799 h 3105260"/>
              <a:gd name="connsiteX721" fmla="*/ 2793257 w 3105279"/>
              <a:gd name="connsiteY721" fmla="*/ 2437148 h 3105260"/>
              <a:gd name="connsiteX722" fmla="*/ 2816863 w 3105279"/>
              <a:gd name="connsiteY722" fmla="*/ 2453933 h 3105260"/>
              <a:gd name="connsiteX723" fmla="*/ 2813462 w 3105279"/>
              <a:gd name="connsiteY723" fmla="*/ 2458694 h 3105260"/>
              <a:gd name="connsiteX724" fmla="*/ 291340 w 3105279"/>
              <a:gd name="connsiteY724" fmla="*/ 2457885 h 3105260"/>
              <a:gd name="connsiteX725" fmla="*/ 287939 w 3105279"/>
              <a:gd name="connsiteY725" fmla="*/ 2453124 h 3105260"/>
              <a:gd name="connsiteX726" fmla="*/ 311563 w 3105279"/>
              <a:gd name="connsiteY726" fmla="*/ 2436339 h 3105260"/>
              <a:gd name="connsiteX727" fmla="*/ 314909 w 3105279"/>
              <a:gd name="connsiteY727" fmla="*/ 2441027 h 3105260"/>
              <a:gd name="connsiteX728" fmla="*/ 291340 w 3105279"/>
              <a:gd name="connsiteY728" fmla="*/ 2457885 h 3105260"/>
              <a:gd name="connsiteX729" fmla="*/ 2825265 w 3105279"/>
              <a:gd name="connsiteY729" fmla="*/ 2442001 h 3105260"/>
              <a:gd name="connsiteX730" fmla="*/ 2801494 w 3105279"/>
              <a:gd name="connsiteY730" fmla="*/ 2425437 h 3105260"/>
              <a:gd name="connsiteX731" fmla="*/ 2804766 w 3105279"/>
              <a:gd name="connsiteY731" fmla="*/ 2420730 h 3105260"/>
              <a:gd name="connsiteX732" fmla="*/ 2828593 w 3105279"/>
              <a:gd name="connsiteY732" fmla="*/ 2437221 h 3105260"/>
              <a:gd name="connsiteX733" fmla="*/ 2825265 w 3105279"/>
              <a:gd name="connsiteY733" fmla="*/ 2442020 h 3105260"/>
              <a:gd name="connsiteX734" fmla="*/ 279519 w 3105279"/>
              <a:gd name="connsiteY734" fmla="*/ 2441155 h 3105260"/>
              <a:gd name="connsiteX735" fmla="*/ 276173 w 3105279"/>
              <a:gd name="connsiteY735" fmla="*/ 2436339 h 3105260"/>
              <a:gd name="connsiteX736" fmla="*/ 300018 w 3105279"/>
              <a:gd name="connsiteY736" fmla="*/ 2419885 h 3105260"/>
              <a:gd name="connsiteX737" fmla="*/ 303290 w 3105279"/>
              <a:gd name="connsiteY737" fmla="*/ 2424609 h 3105260"/>
              <a:gd name="connsiteX738" fmla="*/ 279519 w 3105279"/>
              <a:gd name="connsiteY738" fmla="*/ 2441155 h 3105260"/>
              <a:gd name="connsiteX739" fmla="*/ 2836847 w 3105279"/>
              <a:gd name="connsiteY739" fmla="*/ 2425142 h 3105260"/>
              <a:gd name="connsiteX740" fmla="*/ 2812874 w 3105279"/>
              <a:gd name="connsiteY740" fmla="*/ 2408872 h 3105260"/>
              <a:gd name="connsiteX741" fmla="*/ 2816073 w 3105279"/>
              <a:gd name="connsiteY741" fmla="*/ 2404129 h 3105260"/>
              <a:gd name="connsiteX742" fmla="*/ 2840120 w 3105279"/>
              <a:gd name="connsiteY742" fmla="*/ 2420289 h 3105260"/>
              <a:gd name="connsiteX743" fmla="*/ 2836847 w 3105279"/>
              <a:gd name="connsiteY743" fmla="*/ 2425142 h 3105260"/>
              <a:gd name="connsiteX744" fmla="*/ 267918 w 3105279"/>
              <a:gd name="connsiteY744" fmla="*/ 2424260 h 3105260"/>
              <a:gd name="connsiteX745" fmla="*/ 264646 w 3105279"/>
              <a:gd name="connsiteY745" fmla="*/ 2419407 h 3105260"/>
              <a:gd name="connsiteX746" fmla="*/ 288693 w 3105279"/>
              <a:gd name="connsiteY746" fmla="*/ 2403265 h 3105260"/>
              <a:gd name="connsiteX747" fmla="*/ 291910 w 3105279"/>
              <a:gd name="connsiteY747" fmla="*/ 2408027 h 3105260"/>
              <a:gd name="connsiteX748" fmla="*/ 267900 w 3105279"/>
              <a:gd name="connsiteY748" fmla="*/ 2424260 h 3105260"/>
              <a:gd name="connsiteX749" fmla="*/ 2848227 w 3105279"/>
              <a:gd name="connsiteY749" fmla="*/ 2408155 h 3105260"/>
              <a:gd name="connsiteX750" fmla="*/ 2824033 w 3105279"/>
              <a:gd name="connsiteY750" fmla="*/ 2392197 h 3105260"/>
              <a:gd name="connsiteX751" fmla="*/ 2827177 w 3105279"/>
              <a:gd name="connsiteY751" fmla="*/ 2387417 h 3105260"/>
              <a:gd name="connsiteX752" fmla="*/ 2851426 w 3105279"/>
              <a:gd name="connsiteY752" fmla="*/ 2403265 h 3105260"/>
              <a:gd name="connsiteX753" fmla="*/ 2848209 w 3105279"/>
              <a:gd name="connsiteY753" fmla="*/ 2408155 h 3105260"/>
              <a:gd name="connsiteX754" fmla="*/ 256556 w 3105279"/>
              <a:gd name="connsiteY754" fmla="*/ 2407218 h 3105260"/>
              <a:gd name="connsiteX755" fmla="*/ 253358 w 3105279"/>
              <a:gd name="connsiteY755" fmla="*/ 2402327 h 3105260"/>
              <a:gd name="connsiteX756" fmla="*/ 277625 w 3105279"/>
              <a:gd name="connsiteY756" fmla="*/ 2386498 h 3105260"/>
              <a:gd name="connsiteX757" fmla="*/ 280769 w 3105279"/>
              <a:gd name="connsiteY757" fmla="*/ 2391296 h 3105260"/>
              <a:gd name="connsiteX758" fmla="*/ 256556 w 3105279"/>
              <a:gd name="connsiteY758" fmla="*/ 2407218 h 3105260"/>
              <a:gd name="connsiteX759" fmla="*/ 2859368 w 3105279"/>
              <a:gd name="connsiteY759" fmla="*/ 2390984 h 3105260"/>
              <a:gd name="connsiteX760" fmla="*/ 2834972 w 3105279"/>
              <a:gd name="connsiteY760" fmla="*/ 2375357 h 3105260"/>
              <a:gd name="connsiteX761" fmla="*/ 2838061 w 3105279"/>
              <a:gd name="connsiteY761" fmla="*/ 2370522 h 3105260"/>
              <a:gd name="connsiteX762" fmla="*/ 2862512 w 3105279"/>
              <a:gd name="connsiteY762" fmla="*/ 2386057 h 3105260"/>
              <a:gd name="connsiteX763" fmla="*/ 2859368 w 3105279"/>
              <a:gd name="connsiteY763" fmla="*/ 2390984 h 3105260"/>
              <a:gd name="connsiteX764" fmla="*/ 245415 w 3105279"/>
              <a:gd name="connsiteY764" fmla="*/ 2390028 h 3105260"/>
              <a:gd name="connsiteX765" fmla="*/ 242272 w 3105279"/>
              <a:gd name="connsiteY765" fmla="*/ 2385101 h 3105260"/>
              <a:gd name="connsiteX766" fmla="*/ 266742 w 3105279"/>
              <a:gd name="connsiteY766" fmla="*/ 2369584 h 3105260"/>
              <a:gd name="connsiteX767" fmla="*/ 269830 w 3105279"/>
              <a:gd name="connsiteY767" fmla="*/ 2374438 h 3105260"/>
              <a:gd name="connsiteX768" fmla="*/ 245415 w 3105279"/>
              <a:gd name="connsiteY768" fmla="*/ 2390046 h 3105260"/>
              <a:gd name="connsiteX769" fmla="*/ 2870270 w 3105279"/>
              <a:gd name="connsiteY769" fmla="*/ 2373684 h 3105260"/>
              <a:gd name="connsiteX770" fmla="*/ 2845672 w 3105279"/>
              <a:gd name="connsiteY770" fmla="*/ 2358370 h 3105260"/>
              <a:gd name="connsiteX771" fmla="*/ 2848687 w 3105279"/>
              <a:gd name="connsiteY771" fmla="*/ 2353498 h 3105260"/>
              <a:gd name="connsiteX772" fmla="*/ 2873341 w 3105279"/>
              <a:gd name="connsiteY772" fmla="*/ 2368702 h 3105260"/>
              <a:gd name="connsiteX773" fmla="*/ 2870252 w 3105279"/>
              <a:gd name="connsiteY773" fmla="*/ 2373684 h 3105260"/>
              <a:gd name="connsiteX774" fmla="*/ 234495 w 3105279"/>
              <a:gd name="connsiteY774" fmla="*/ 2372673 h 3105260"/>
              <a:gd name="connsiteX775" fmla="*/ 231425 w 3105279"/>
              <a:gd name="connsiteY775" fmla="*/ 2367691 h 3105260"/>
              <a:gd name="connsiteX776" fmla="*/ 256097 w 3105279"/>
              <a:gd name="connsiteY776" fmla="*/ 2352505 h 3105260"/>
              <a:gd name="connsiteX777" fmla="*/ 259112 w 3105279"/>
              <a:gd name="connsiteY777" fmla="*/ 2357395 h 3105260"/>
              <a:gd name="connsiteX778" fmla="*/ 234495 w 3105279"/>
              <a:gd name="connsiteY778" fmla="*/ 2372673 h 3105260"/>
              <a:gd name="connsiteX779" fmla="*/ 2880970 w 3105279"/>
              <a:gd name="connsiteY779" fmla="*/ 2356237 h 3105260"/>
              <a:gd name="connsiteX780" fmla="*/ 2856169 w 3105279"/>
              <a:gd name="connsiteY780" fmla="*/ 2341272 h 3105260"/>
              <a:gd name="connsiteX781" fmla="*/ 2859129 w 3105279"/>
              <a:gd name="connsiteY781" fmla="*/ 2336363 h 3105260"/>
              <a:gd name="connsiteX782" fmla="*/ 2883985 w 3105279"/>
              <a:gd name="connsiteY782" fmla="*/ 2351237 h 3105260"/>
              <a:gd name="connsiteX783" fmla="*/ 2880970 w 3105279"/>
              <a:gd name="connsiteY783" fmla="*/ 2356237 h 3105260"/>
              <a:gd name="connsiteX784" fmla="*/ 223795 w 3105279"/>
              <a:gd name="connsiteY784" fmla="*/ 2355189 h 3105260"/>
              <a:gd name="connsiteX785" fmla="*/ 220780 w 3105279"/>
              <a:gd name="connsiteY785" fmla="*/ 2350170 h 3105260"/>
              <a:gd name="connsiteX786" fmla="*/ 245654 w 3105279"/>
              <a:gd name="connsiteY786" fmla="*/ 2335316 h 3105260"/>
              <a:gd name="connsiteX787" fmla="*/ 248614 w 3105279"/>
              <a:gd name="connsiteY787" fmla="*/ 2340243 h 3105260"/>
              <a:gd name="connsiteX788" fmla="*/ 223795 w 3105279"/>
              <a:gd name="connsiteY788" fmla="*/ 2355189 h 3105260"/>
              <a:gd name="connsiteX789" fmla="*/ 2891431 w 3105279"/>
              <a:gd name="connsiteY789" fmla="*/ 2338662 h 3105260"/>
              <a:gd name="connsiteX790" fmla="*/ 2866428 w 3105279"/>
              <a:gd name="connsiteY790" fmla="*/ 2324009 h 3105260"/>
              <a:gd name="connsiteX791" fmla="*/ 2869314 w 3105279"/>
              <a:gd name="connsiteY791" fmla="*/ 2319064 h 3105260"/>
              <a:gd name="connsiteX792" fmla="*/ 2894373 w 3105279"/>
              <a:gd name="connsiteY792" fmla="*/ 2333606 h 3105260"/>
              <a:gd name="connsiteX793" fmla="*/ 2891431 w 3105279"/>
              <a:gd name="connsiteY793" fmla="*/ 2338662 h 3105260"/>
              <a:gd name="connsiteX794" fmla="*/ 213353 w 3105279"/>
              <a:gd name="connsiteY794" fmla="*/ 2337577 h 3105260"/>
              <a:gd name="connsiteX795" fmla="*/ 210411 w 3105279"/>
              <a:gd name="connsiteY795" fmla="*/ 2332521 h 3105260"/>
              <a:gd name="connsiteX796" fmla="*/ 235469 w 3105279"/>
              <a:gd name="connsiteY796" fmla="*/ 2317979 h 3105260"/>
              <a:gd name="connsiteX797" fmla="*/ 238356 w 3105279"/>
              <a:gd name="connsiteY797" fmla="*/ 2322943 h 3105260"/>
              <a:gd name="connsiteX798" fmla="*/ 213353 w 3105279"/>
              <a:gd name="connsiteY798" fmla="*/ 2337577 h 3105260"/>
              <a:gd name="connsiteX799" fmla="*/ 2901653 w 3105279"/>
              <a:gd name="connsiteY799" fmla="*/ 2320939 h 3105260"/>
              <a:gd name="connsiteX800" fmla="*/ 2876466 w 3105279"/>
              <a:gd name="connsiteY800" fmla="*/ 2306617 h 3105260"/>
              <a:gd name="connsiteX801" fmla="*/ 2879297 w 3105279"/>
              <a:gd name="connsiteY801" fmla="*/ 2301617 h 3105260"/>
              <a:gd name="connsiteX802" fmla="*/ 2904539 w 3105279"/>
              <a:gd name="connsiteY802" fmla="*/ 2315846 h 3105260"/>
              <a:gd name="connsiteX803" fmla="*/ 2901653 w 3105279"/>
              <a:gd name="connsiteY803" fmla="*/ 2320939 h 3105260"/>
              <a:gd name="connsiteX804" fmla="*/ 203113 w 3105279"/>
              <a:gd name="connsiteY804" fmla="*/ 2319817 h 3105260"/>
              <a:gd name="connsiteX805" fmla="*/ 200245 w 3105279"/>
              <a:gd name="connsiteY805" fmla="*/ 2314725 h 3105260"/>
              <a:gd name="connsiteX806" fmla="*/ 225487 w 3105279"/>
              <a:gd name="connsiteY806" fmla="*/ 2300514 h 3105260"/>
              <a:gd name="connsiteX807" fmla="*/ 228318 w 3105279"/>
              <a:gd name="connsiteY807" fmla="*/ 2305514 h 3105260"/>
              <a:gd name="connsiteX808" fmla="*/ 203113 w 3105279"/>
              <a:gd name="connsiteY808" fmla="*/ 2319817 h 3105260"/>
              <a:gd name="connsiteX809" fmla="*/ 2911654 w 3105279"/>
              <a:gd name="connsiteY809" fmla="*/ 2303069 h 3105260"/>
              <a:gd name="connsiteX810" fmla="*/ 2886283 w 3105279"/>
              <a:gd name="connsiteY810" fmla="*/ 2289078 h 3105260"/>
              <a:gd name="connsiteX811" fmla="*/ 2889041 w 3105279"/>
              <a:gd name="connsiteY811" fmla="*/ 2284059 h 3105260"/>
              <a:gd name="connsiteX812" fmla="*/ 2914467 w 3105279"/>
              <a:gd name="connsiteY812" fmla="*/ 2297940 h 3105260"/>
              <a:gd name="connsiteX813" fmla="*/ 2911654 w 3105279"/>
              <a:gd name="connsiteY813" fmla="*/ 2303069 h 3105260"/>
              <a:gd name="connsiteX814" fmla="*/ 193130 w 3105279"/>
              <a:gd name="connsiteY814" fmla="*/ 2301948 h 3105260"/>
              <a:gd name="connsiteX815" fmla="*/ 190335 w 3105279"/>
              <a:gd name="connsiteY815" fmla="*/ 2296837 h 3105260"/>
              <a:gd name="connsiteX816" fmla="*/ 215761 w 3105279"/>
              <a:gd name="connsiteY816" fmla="*/ 2282956 h 3105260"/>
              <a:gd name="connsiteX817" fmla="*/ 218519 w 3105279"/>
              <a:gd name="connsiteY817" fmla="*/ 2287975 h 3105260"/>
              <a:gd name="connsiteX818" fmla="*/ 193130 w 3105279"/>
              <a:gd name="connsiteY818" fmla="*/ 2301948 h 3105260"/>
              <a:gd name="connsiteX819" fmla="*/ 2921416 w 3105279"/>
              <a:gd name="connsiteY819" fmla="*/ 2285089 h 3105260"/>
              <a:gd name="connsiteX820" fmla="*/ 2895862 w 3105279"/>
              <a:gd name="connsiteY820" fmla="*/ 2271448 h 3105260"/>
              <a:gd name="connsiteX821" fmla="*/ 2898564 w 3105279"/>
              <a:gd name="connsiteY821" fmla="*/ 2266374 h 3105260"/>
              <a:gd name="connsiteX822" fmla="*/ 2924174 w 3105279"/>
              <a:gd name="connsiteY822" fmla="*/ 2279923 h 3105260"/>
              <a:gd name="connsiteX823" fmla="*/ 2921435 w 3105279"/>
              <a:gd name="connsiteY823" fmla="*/ 2285089 h 3105260"/>
              <a:gd name="connsiteX824" fmla="*/ 183404 w 3105279"/>
              <a:gd name="connsiteY824" fmla="*/ 2283986 h 3105260"/>
              <a:gd name="connsiteX825" fmla="*/ 180665 w 3105279"/>
              <a:gd name="connsiteY825" fmla="*/ 2278820 h 3105260"/>
              <a:gd name="connsiteX826" fmla="*/ 206275 w 3105279"/>
              <a:gd name="connsiteY826" fmla="*/ 2265271 h 3105260"/>
              <a:gd name="connsiteX827" fmla="*/ 208959 w 3105279"/>
              <a:gd name="connsiteY827" fmla="*/ 2270326 h 3105260"/>
              <a:gd name="connsiteX828" fmla="*/ 183404 w 3105279"/>
              <a:gd name="connsiteY828" fmla="*/ 2283967 h 3105260"/>
              <a:gd name="connsiteX829" fmla="*/ 2930939 w 3105279"/>
              <a:gd name="connsiteY829" fmla="*/ 2266962 h 3105260"/>
              <a:gd name="connsiteX830" fmla="*/ 2905201 w 3105279"/>
              <a:gd name="connsiteY830" fmla="*/ 2253651 h 3105260"/>
              <a:gd name="connsiteX831" fmla="*/ 2907830 w 3105279"/>
              <a:gd name="connsiteY831" fmla="*/ 2248541 h 3105260"/>
              <a:gd name="connsiteX832" fmla="*/ 2933605 w 3105279"/>
              <a:gd name="connsiteY832" fmla="*/ 2261759 h 3105260"/>
              <a:gd name="connsiteX833" fmla="*/ 2930921 w 3105279"/>
              <a:gd name="connsiteY833" fmla="*/ 2266962 h 3105260"/>
              <a:gd name="connsiteX834" fmla="*/ 173881 w 3105279"/>
              <a:gd name="connsiteY834" fmla="*/ 2265877 h 3105260"/>
              <a:gd name="connsiteX835" fmla="*/ 171215 w 3105279"/>
              <a:gd name="connsiteY835" fmla="*/ 2260693 h 3105260"/>
              <a:gd name="connsiteX836" fmla="*/ 196991 w 3105279"/>
              <a:gd name="connsiteY836" fmla="*/ 2247474 h 3105260"/>
              <a:gd name="connsiteX837" fmla="*/ 199620 w 3105279"/>
              <a:gd name="connsiteY837" fmla="*/ 2252585 h 3105260"/>
              <a:gd name="connsiteX838" fmla="*/ 173881 w 3105279"/>
              <a:gd name="connsiteY838" fmla="*/ 2265896 h 3105260"/>
              <a:gd name="connsiteX839" fmla="*/ 2940224 w 3105279"/>
              <a:gd name="connsiteY839" fmla="*/ 2248724 h 3105260"/>
              <a:gd name="connsiteX840" fmla="*/ 2914320 w 3105279"/>
              <a:gd name="connsiteY840" fmla="*/ 2235763 h 3105260"/>
              <a:gd name="connsiteX841" fmla="*/ 2916875 w 3105279"/>
              <a:gd name="connsiteY841" fmla="*/ 2230616 h 3105260"/>
              <a:gd name="connsiteX842" fmla="*/ 2942834 w 3105279"/>
              <a:gd name="connsiteY842" fmla="*/ 2243503 h 3105260"/>
              <a:gd name="connsiteX843" fmla="*/ 2940224 w 3105279"/>
              <a:gd name="connsiteY843" fmla="*/ 2248724 h 3105260"/>
              <a:gd name="connsiteX844" fmla="*/ 164597 w 3105279"/>
              <a:gd name="connsiteY844" fmla="*/ 2247640 h 3105260"/>
              <a:gd name="connsiteX845" fmla="*/ 161968 w 3105279"/>
              <a:gd name="connsiteY845" fmla="*/ 2242382 h 3105260"/>
              <a:gd name="connsiteX846" fmla="*/ 187927 w 3105279"/>
              <a:gd name="connsiteY846" fmla="*/ 2229494 h 3105260"/>
              <a:gd name="connsiteX847" fmla="*/ 190482 w 3105279"/>
              <a:gd name="connsiteY847" fmla="*/ 2234642 h 3105260"/>
              <a:gd name="connsiteX848" fmla="*/ 164579 w 3105279"/>
              <a:gd name="connsiteY848" fmla="*/ 2247640 h 3105260"/>
              <a:gd name="connsiteX849" fmla="*/ 2949269 w 3105279"/>
              <a:gd name="connsiteY849" fmla="*/ 2230358 h 3105260"/>
              <a:gd name="connsiteX850" fmla="*/ 2923181 w 3105279"/>
              <a:gd name="connsiteY850" fmla="*/ 2217728 h 3105260"/>
              <a:gd name="connsiteX851" fmla="*/ 2925681 w 3105279"/>
              <a:gd name="connsiteY851" fmla="*/ 2212544 h 3105260"/>
              <a:gd name="connsiteX852" fmla="*/ 2951806 w 3105279"/>
              <a:gd name="connsiteY852" fmla="*/ 2225082 h 3105260"/>
              <a:gd name="connsiteX853" fmla="*/ 2949269 w 3105279"/>
              <a:gd name="connsiteY853" fmla="*/ 2230340 h 3105260"/>
              <a:gd name="connsiteX854" fmla="*/ 155533 w 3105279"/>
              <a:gd name="connsiteY854" fmla="*/ 2229200 h 3105260"/>
              <a:gd name="connsiteX855" fmla="*/ 152978 w 3105279"/>
              <a:gd name="connsiteY855" fmla="*/ 2223905 h 3105260"/>
              <a:gd name="connsiteX856" fmla="*/ 179102 w 3105279"/>
              <a:gd name="connsiteY856" fmla="*/ 2211385 h 3105260"/>
              <a:gd name="connsiteX857" fmla="*/ 181603 w 3105279"/>
              <a:gd name="connsiteY857" fmla="*/ 2216570 h 3105260"/>
              <a:gd name="connsiteX858" fmla="*/ 155533 w 3105279"/>
              <a:gd name="connsiteY858" fmla="*/ 2229200 h 3105260"/>
              <a:gd name="connsiteX859" fmla="*/ 2958075 w 3105279"/>
              <a:gd name="connsiteY859" fmla="*/ 2211882 h 3105260"/>
              <a:gd name="connsiteX860" fmla="*/ 2931840 w 3105279"/>
              <a:gd name="connsiteY860" fmla="*/ 2199583 h 3105260"/>
              <a:gd name="connsiteX861" fmla="*/ 2934267 w 3105279"/>
              <a:gd name="connsiteY861" fmla="*/ 2194380 h 3105260"/>
              <a:gd name="connsiteX862" fmla="*/ 2960557 w 3105279"/>
              <a:gd name="connsiteY862" fmla="*/ 2206569 h 3105260"/>
              <a:gd name="connsiteX863" fmla="*/ 2958075 w 3105279"/>
              <a:gd name="connsiteY863" fmla="*/ 2211882 h 3105260"/>
              <a:gd name="connsiteX864" fmla="*/ 146690 w 3105279"/>
              <a:gd name="connsiteY864" fmla="*/ 2210668 h 3105260"/>
              <a:gd name="connsiteX865" fmla="*/ 144208 w 3105279"/>
              <a:gd name="connsiteY865" fmla="*/ 2205355 h 3105260"/>
              <a:gd name="connsiteX866" fmla="*/ 170498 w 3105279"/>
              <a:gd name="connsiteY866" fmla="*/ 2193148 h 3105260"/>
              <a:gd name="connsiteX867" fmla="*/ 172944 w 3105279"/>
              <a:gd name="connsiteY867" fmla="*/ 2198369 h 3105260"/>
              <a:gd name="connsiteX868" fmla="*/ 146709 w 3105279"/>
              <a:gd name="connsiteY868" fmla="*/ 2210668 h 3105260"/>
              <a:gd name="connsiteX869" fmla="*/ 2966624 w 3105279"/>
              <a:gd name="connsiteY869" fmla="*/ 2193277 h 3105260"/>
              <a:gd name="connsiteX870" fmla="*/ 2940224 w 3105279"/>
              <a:gd name="connsiteY870" fmla="*/ 2181345 h 3105260"/>
              <a:gd name="connsiteX871" fmla="*/ 2942577 w 3105279"/>
              <a:gd name="connsiteY871" fmla="*/ 2176105 h 3105260"/>
              <a:gd name="connsiteX872" fmla="*/ 2969014 w 3105279"/>
              <a:gd name="connsiteY872" fmla="*/ 2187945 h 3105260"/>
              <a:gd name="connsiteX873" fmla="*/ 2966606 w 3105279"/>
              <a:gd name="connsiteY873" fmla="*/ 2193277 h 3105260"/>
              <a:gd name="connsiteX874" fmla="*/ 138105 w 3105279"/>
              <a:gd name="connsiteY874" fmla="*/ 2192008 h 3105260"/>
              <a:gd name="connsiteX875" fmla="*/ 135696 w 3105279"/>
              <a:gd name="connsiteY875" fmla="*/ 2186658 h 3105260"/>
              <a:gd name="connsiteX876" fmla="*/ 162133 w 3105279"/>
              <a:gd name="connsiteY876" fmla="*/ 2174800 h 3105260"/>
              <a:gd name="connsiteX877" fmla="*/ 164505 w 3105279"/>
              <a:gd name="connsiteY877" fmla="*/ 2180058 h 3105260"/>
              <a:gd name="connsiteX878" fmla="*/ 138105 w 3105279"/>
              <a:gd name="connsiteY878" fmla="*/ 2192008 h 3105260"/>
              <a:gd name="connsiteX879" fmla="*/ 2974952 w 3105279"/>
              <a:gd name="connsiteY879" fmla="*/ 2174561 h 3105260"/>
              <a:gd name="connsiteX880" fmla="*/ 2948405 w 3105279"/>
              <a:gd name="connsiteY880" fmla="*/ 2162979 h 3105260"/>
              <a:gd name="connsiteX881" fmla="*/ 2950684 w 3105279"/>
              <a:gd name="connsiteY881" fmla="*/ 2157703 h 3105260"/>
              <a:gd name="connsiteX882" fmla="*/ 2977287 w 3105279"/>
              <a:gd name="connsiteY882" fmla="*/ 2169193 h 3105260"/>
              <a:gd name="connsiteX883" fmla="*/ 2974952 w 3105279"/>
              <a:gd name="connsiteY883" fmla="*/ 2174561 h 3105260"/>
              <a:gd name="connsiteX884" fmla="*/ 129740 w 3105279"/>
              <a:gd name="connsiteY884" fmla="*/ 2173256 h 3105260"/>
              <a:gd name="connsiteX885" fmla="*/ 127405 w 3105279"/>
              <a:gd name="connsiteY885" fmla="*/ 2167869 h 3105260"/>
              <a:gd name="connsiteX886" fmla="*/ 153989 w 3105279"/>
              <a:gd name="connsiteY886" fmla="*/ 2156361 h 3105260"/>
              <a:gd name="connsiteX887" fmla="*/ 156287 w 3105279"/>
              <a:gd name="connsiteY887" fmla="*/ 2161655 h 3105260"/>
              <a:gd name="connsiteX888" fmla="*/ 129740 w 3105279"/>
              <a:gd name="connsiteY888" fmla="*/ 2173256 h 3105260"/>
              <a:gd name="connsiteX889" fmla="*/ 2983023 w 3105279"/>
              <a:gd name="connsiteY889" fmla="*/ 2155754 h 3105260"/>
              <a:gd name="connsiteX890" fmla="*/ 2956329 w 3105279"/>
              <a:gd name="connsiteY890" fmla="*/ 2144502 h 3105260"/>
              <a:gd name="connsiteX891" fmla="*/ 2958553 w 3105279"/>
              <a:gd name="connsiteY891" fmla="*/ 2139208 h 3105260"/>
              <a:gd name="connsiteX892" fmla="*/ 2985302 w 3105279"/>
              <a:gd name="connsiteY892" fmla="*/ 2150349 h 3105260"/>
              <a:gd name="connsiteX893" fmla="*/ 2983041 w 3105279"/>
              <a:gd name="connsiteY893" fmla="*/ 2155754 h 3105260"/>
              <a:gd name="connsiteX894" fmla="*/ 121651 w 3105279"/>
              <a:gd name="connsiteY894" fmla="*/ 2154375 h 3105260"/>
              <a:gd name="connsiteX895" fmla="*/ 119371 w 3105279"/>
              <a:gd name="connsiteY895" fmla="*/ 2148951 h 3105260"/>
              <a:gd name="connsiteX896" fmla="*/ 146120 w 3105279"/>
              <a:gd name="connsiteY896" fmla="*/ 2137792 h 3105260"/>
              <a:gd name="connsiteX897" fmla="*/ 148345 w 3105279"/>
              <a:gd name="connsiteY897" fmla="*/ 2143105 h 3105260"/>
              <a:gd name="connsiteX898" fmla="*/ 121651 w 3105279"/>
              <a:gd name="connsiteY898" fmla="*/ 2154356 h 3105260"/>
              <a:gd name="connsiteX899" fmla="*/ 2990836 w 3105279"/>
              <a:gd name="connsiteY899" fmla="*/ 2136818 h 3105260"/>
              <a:gd name="connsiteX900" fmla="*/ 2963995 w 3105279"/>
              <a:gd name="connsiteY900" fmla="*/ 2125934 h 3105260"/>
              <a:gd name="connsiteX901" fmla="*/ 2966146 w 3105279"/>
              <a:gd name="connsiteY901" fmla="*/ 2120602 h 3105260"/>
              <a:gd name="connsiteX902" fmla="*/ 2993043 w 3105279"/>
              <a:gd name="connsiteY902" fmla="*/ 2131394 h 3105260"/>
              <a:gd name="connsiteX903" fmla="*/ 2990855 w 3105279"/>
              <a:gd name="connsiteY903" fmla="*/ 2136818 h 3105260"/>
              <a:gd name="connsiteX904" fmla="*/ 113800 w 3105279"/>
              <a:gd name="connsiteY904" fmla="*/ 2135402 h 3105260"/>
              <a:gd name="connsiteX905" fmla="*/ 111594 w 3105279"/>
              <a:gd name="connsiteY905" fmla="*/ 2129960 h 3105260"/>
              <a:gd name="connsiteX906" fmla="*/ 138472 w 3105279"/>
              <a:gd name="connsiteY906" fmla="*/ 2119150 h 3105260"/>
              <a:gd name="connsiteX907" fmla="*/ 140623 w 3105279"/>
              <a:gd name="connsiteY907" fmla="*/ 2124482 h 3105260"/>
              <a:gd name="connsiteX908" fmla="*/ 113782 w 3105279"/>
              <a:gd name="connsiteY908" fmla="*/ 2135384 h 3105260"/>
              <a:gd name="connsiteX909" fmla="*/ 2998429 w 3105279"/>
              <a:gd name="connsiteY909" fmla="*/ 2117771 h 3105260"/>
              <a:gd name="connsiteX910" fmla="*/ 2971441 w 3105279"/>
              <a:gd name="connsiteY910" fmla="*/ 2107255 h 3105260"/>
              <a:gd name="connsiteX911" fmla="*/ 2973518 w 3105279"/>
              <a:gd name="connsiteY911" fmla="*/ 2101887 h 3105260"/>
              <a:gd name="connsiteX912" fmla="*/ 3000543 w 3105279"/>
              <a:gd name="connsiteY912" fmla="*/ 2112329 h 3105260"/>
              <a:gd name="connsiteX913" fmla="*/ 2998429 w 3105279"/>
              <a:gd name="connsiteY913" fmla="*/ 2117771 h 3105260"/>
              <a:gd name="connsiteX914" fmla="*/ 106189 w 3105279"/>
              <a:gd name="connsiteY914" fmla="*/ 2116337 h 3105260"/>
              <a:gd name="connsiteX915" fmla="*/ 104057 w 3105279"/>
              <a:gd name="connsiteY915" fmla="*/ 2110877 h 3105260"/>
              <a:gd name="connsiteX916" fmla="*/ 131082 w 3105279"/>
              <a:gd name="connsiteY916" fmla="*/ 2100435 h 3105260"/>
              <a:gd name="connsiteX917" fmla="*/ 133178 w 3105279"/>
              <a:gd name="connsiteY917" fmla="*/ 2105803 h 3105260"/>
              <a:gd name="connsiteX918" fmla="*/ 106189 w 3105279"/>
              <a:gd name="connsiteY918" fmla="*/ 2116356 h 3105260"/>
              <a:gd name="connsiteX919" fmla="*/ 3005746 w 3105279"/>
              <a:gd name="connsiteY919" fmla="*/ 2098670 h 3105260"/>
              <a:gd name="connsiteX920" fmla="*/ 2978629 w 3105279"/>
              <a:gd name="connsiteY920" fmla="*/ 2088485 h 3105260"/>
              <a:gd name="connsiteX921" fmla="*/ 2980633 w 3105279"/>
              <a:gd name="connsiteY921" fmla="*/ 2083116 h 3105260"/>
              <a:gd name="connsiteX922" fmla="*/ 3007805 w 3105279"/>
              <a:gd name="connsiteY922" fmla="*/ 2093191 h 3105260"/>
              <a:gd name="connsiteX923" fmla="*/ 3005764 w 3105279"/>
              <a:gd name="connsiteY923" fmla="*/ 2098688 h 3105260"/>
              <a:gd name="connsiteX924" fmla="*/ 98835 w 3105279"/>
              <a:gd name="connsiteY924" fmla="*/ 2097162 h 3105260"/>
              <a:gd name="connsiteX925" fmla="*/ 96776 w 3105279"/>
              <a:gd name="connsiteY925" fmla="*/ 2091665 h 3105260"/>
              <a:gd name="connsiteX926" fmla="*/ 123930 w 3105279"/>
              <a:gd name="connsiteY926" fmla="*/ 2081572 h 3105260"/>
              <a:gd name="connsiteX927" fmla="*/ 125953 w 3105279"/>
              <a:gd name="connsiteY927" fmla="*/ 2086977 h 3105260"/>
              <a:gd name="connsiteX928" fmla="*/ 98835 w 3105279"/>
              <a:gd name="connsiteY928" fmla="*/ 2097162 h 3105260"/>
              <a:gd name="connsiteX929" fmla="*/ 3012824 w 3105279"/>
              <a:gd name="connsiteY929" fmla="*/ 2079439 h 3105260"/>
              <a:gd name="connsiteX930" fmla="*/ 2985560 w 3105279"/>
              <a:gd name="connsiteY930" fmla="*/ 2069622 h 3105260"/>
              <a:gd name="connsiteX931" fmla="*/ 2987509 w 3105279"/>
              <a:gd name="connsiteY931" fmla="*/ 2064199 h 3105260"/>
              <a:gd name="connsiteX932" fmla="*/ 3014791 w 3105279"/>
              <a:gd name="connsiteY932" fmla="*/ 2073924 h 3105260"/>
              <a:gd name="connsiteX933" fmla="*/ 3012824 w 3105279"/>
              <a:gd name="connsiteY933" fmla="*/ 2079421 h 3105260"/>
              <a:gd name="connsiteX934" fmla="*/ 91739 w 3105279"/>
              <a:gd name="connsiteY934" fmla="*/ 2077895 h 3105260"/>
              <a:gd name="connsiteX935" fmla="*/ 89753 w 3105279"/>
              <a:gd name="connsiteY935" fmla="*/ 2072380 h 3105260"/>
              <a:gd name="connsiteX936" fmla="*/ 117036 w 3105279"/>
              <a:gd name="connsiteY936" fmla="*/ 2062636 h 3105260"/>
              <a:gd name="connsiteX937" fmla="*/ 118985 w 3105279"/>
              <a:gd name="connsiteY937" fmla="*/ 2068059 h 3105260"/>
              <a:gd name="connsiteX938" fmla="*/ 91721 w 3105279"/>
              <a:gd name="connsiteY938" fmla="*/ 2077895 h 3105260"/>
              <a:gd name="connsiteX939" fmla="*/ 3019645 w 3105279"/>
              <a:gd name="connsiteY939" fmla="*/ 2060117 h 3105260"/>
              <a:gd name="connsiteX940" fmla="*/ 2992252 w 3105279"/>
              <a:gd name="connsiteY940" fmla="*/ 2050668 h 3105260"/>
              <a:gd name="connsiteX941" fmla="*/ 2994127 w 3105279"/>
              <a:gd name="connsiteY941" fmla="*/ 2045226 h 3105260"/>
              <a:gd name="connsiteX942" fmla="*/ 3021539 w 3105279"/>
              <a:gd name="connsiteY942" fmla="*/ 2054602 h 3105260"/>
              <a:gd name="connsiteX943" fmla="*/ 3019645 w 3105279"/>
              <a:gd name="connsiteY943" fmla="*/ 2060136 h 3105260"/>
              <a:gd name="connsiteX944" fmla="*/ 84900 w 3105279"/>
              <a:gd name="connsiteY944" fmla="*/ 2058536 h 3105260"/>
              <a:gd name="connsiteX945" fmla="*/ 82988 w 3105279"/>
              <a:gd name="connsiteY945" fmla="*/ 2052984 h 3105260"/>
              <a:gd name="connsiteX946" fmla="*/ 110399 w 3105279"/>
              <a:gd name="connsiteY946" fmla="*/ 2043608 h 3105260"/>
              <a:gd name="connsiteX947" fmla="*/ 112274 w 3105279"/>
              <a:gd name="connsiteY947" fmla="*/ 2049050 h 3105260"/>
              <a:gd name="connsiteX948" fmla="*/ 84900 w 3105279"/>
              <a:gd name="connsiteY948" fmla="*/ 2058518 h 3105260"/>
              <a:gd name="connsiteX949" fmla="*/ 3026208 w 3105279"/>
              <a:gd name="connsiteY949" fmla="*/ 2040722 h 3105260"/>
              <a:gd name="connsiteX950" fmla="*/ 2998705 w 3105279"/>
              <a:gd name="connsiteY950" fmla="*/ 2031621 h 3105260"/>
              <a:gd name="connsiteX951" fmla="*/ 3000507 w 3105279"/>
              <a:gd name="connsiteY951" fmla="*/ 2026161 h 3105260"/>
              <a:gd name="connsiteX952" fmla="*/ 3028047 w 3105279"/>
              <a:gd name="connsiteY952" fmla="*/ 2035169 h 3105260"/>
              <a:gd name="connsiteX953" fmla="*/ 3026227 w 3105279"/>
              <a:gd name="connsiteY953" fmla="*/ 2040722 h 3105260"/>
              <a:gd name="connsiteX954" fmla="*/ 78318 w 3105279"/>
              <a:gd name="connsiteY954" fmla="*/ 2039104 h 3105260"/>
              <a:gd name="connsiteX955" fmla="*/ 76480 w 3105279"/>
              <a:gd name="connsiteY955" fmla="*/ 2033515 h 3105260"/>
              <a:gd name="connsiteX956" fmla="*/ 104020 w 3105279"/>
              <a:gd name="connsiteY956" fmla="*/ 2024525 h 3105260"/>
              <a:gd name="connsiteX957" fmla="*/ 105822 w 3105279"/>
              <a:gd name="connsiteY957" fmla="*/ 2029985 h 3105260"/>
              <a:gd name="connsiteX958" fmla="*/ 78318 w 3105279"/>
              <a:gd name="connsiteY958" fmla="*/ 2039104 h 3105260"/>
              <a:gd name="connsiteX959" fmla="*/ 3032533 w 3105279"/>
              <a:gd name="connsiteY959" fmla="*/ 2021216 h 3105260"/>
              <a:gd name="connsiteX960" fmla="*/ 3004900 w 3105279"/>
              <a:gd name="connsiteY960" fmla="*/ 2012483 h 3105260"/>
              <a:gd name="connsiteX961" fmla="*/ 3006629 w 3105279"/>
              <a:gd name="connsiteY961" fmla="*/ 2006986 h 3105260"/>
              <a:gd name="connsiteX962" fmla="*/ 3034279 w 3105279"/>
              <a:gd name="connsiteY962" fmla="*/ 2015645 h 3105260"/>
              <a:gd name="connsiteX963" fmla="*/ 3032533 w 3105279"/>
              <a:gd name="connsiteY963" fmla="*/ 2021216 h 3105260"/>
              <a:gd name="connsiteX964" fmla="*/ 71994 w 3105279"/>
              <a:gd name="connsiteY964" fmla="*/ 2019561 h 3105260"/>
              <a:gd name="connsiteX965" fmla="*/ 70229 w 3105279"/>
              <a:gd name="connsiteY965" fmla="*/ 2013954 h 3105260"/>
              <a:gd name="connsiteX966" fmla="*/ 97879 w 3105279"/>
              <a:gd name="connsiteY966" fmla="*/ 2005313 h 3105260"/>
              <a:gd name="connsiteX967" fmla="*/ 99608 w 3105279"/>
              <a:gd name="connsiteY967" fmla="*/ 2010810 h 3105260"/>
              <a:gd name="connsiteX968" fmla="*/ 71976 w 3105279"/>
              <a:gd name="connsiteY968" fmla="*/ 2019561 h 3105260"/>
              <a:gd name="connsiteX969" fmla="*/ 3038581 w 3105279"/>
              <a:gd name="connsiteY969" fmla="*/ 2001654 h 3105260"/>
              <a:gd name="connsiteX970" fmla="*/ 3010839 w 3105279"/>
              <a:gd name="connsiteY970" fmla="*/ 1993271 h 3105260"/>
              <a:gd name="connsiteX971" fmla="*/ 3012493 w 3105279"/>
              <a:gd name="connsiteY971" fmla="*/ 1987756 h 3105260"/>
              <a:gd name="connsiteX972" fmla="*/ 3040254 w 3105279"/>
              <a:gd name="connsiteY972" fmla="*/ 1996047 h 3105260"/>
              <a:gd name="connsiteX973" fmla="*/ 3038581 w 3105279"/>
              <a:gd name="connsiteY973" fmla="*/ 2001654 h 3105260"/>
              <a:gd name="connsiteX974" fmla="*/ 65927 w 3105279"/>
              <a:gd name="connsiteY974" fmla="*/ 1999963 h 3105260"/>
              <a:gd name="connsiteX975" fmla="*/ 64236 w 3105279"/>
              <a:gd name="connsiteY975" fmla="*/ 1994337 h 3105260"/>
              <a:gd name="connsiteX976" fmla="*/ 91996 w 3105279"/>
              <a:gd name="connsiteY976" fmla="*/ 1986064 h 3105260"/>
              <a:gd name="connsiteX977" fmla="*/ 93651 w 3105279"/>
              <a:gd name="connsiteY977" fmla="*/ 1991580 h 3105260"/>
              <a:gd name="connsiteX978" fmla="*/ 65909 w 3105279"/>
              <a:gd name="connsiteY978" fmla="*/ 1999963 h 3105260"/>
              <a:gd name="connsiteX979" fmla="*/ 3044390 w 3105279"/>
              <a:gd name="connsiteY979" fmla="*/ 1982001 h 3105260"/>
              <a:gd name="connsiteX980" fmla="*/ 3016556 w 3105279"/>
              <a:gd name="connsiteY980" fmla="*/ 1973986 h 3105260"/>
              <a:gd name="connsiteX981" fmla="*/ 3018137 w 3105279"/>
              <a:gd name="connsiteY981" fmla="*/ 1968470 h 3105260"/>
              <a:gd name="connsiteX982" fmla="*/ 3046008 w 3105279"/>
              <a:gd name="connsiteY982" fmla="*/ 1976376 h 3105260"/>
              <a:gd name="connsiteX983" fmla="*/ 3044390 w 3105279"/>
              <a:gd name="connsiteY983" fmla="*/ 1982001 h 3105260"/>
              <a:gd name="connsiteX984" fmla="*/ 60118 w 3105279"/>
              <a:gd name="connsiteY984" fmla="*/ 1980273 h 3105260"/>
              <a:gd name="connsiteX985" fmla="*/ 58500 w 3105279"/>
              <a:gd name="connsiteY985" fmla="*/ 1974629 h 3105260"/>
              <a:gd name="connsiteX986" fmla="*/ 86371 w 3105279"/>
              <a:gd name="connsiteY986" fmla="*/ 1966724 h 3105260"/>
              <a:gd name="connsiteX987" fmla="*/ 87952 w 3105279"/>
              <a:gd name="connsiteY987" fmla="*/ 1972258 h 3105260"/>
              <a:gd name="connsiteX988" fmla="*/ 60099 w 3105279"/>
              <a:gd name="connsiteY988" fmla="*/ 1980273 h 3105260"/>
              <a:gd name="connsiteX989" fmla="*/ 3049924 w 3105279"/>
              <a:gd name="connsiteY989" fmla="*/ 1962275 h 3105260"/>
              <a:gd name="connsiteX990" fmla="*/ 3021980 w 3105279"/>
              <a:gd name="connsiteY990" fmla="*/ 1954627 h 3105260"/>
              <a:gd name="connsiteX991" fmla="*/ 3023487 w 3105279"/>
              <a:gd name="connsiteY991" fmla="*/ 1949093 h 3105260"/>
              <a:gd name="connsiteX992" fmla="*/ 3051469 w 3105279"/>
              <a:gd name="connsiteY992" fmla="*/ 1956631 h 3105260"/>
              <a:gd name="connsiteX993" fmla="*/ 3049924 w 3105279"/>
              <a:gd name="connsiteY993" fmla="*/ 1962275 h 3105260"/>
              <a:gd name="connsiteX994" fmla="*/ 54565 w 3105279"/>
              <a:gd name="connsiteY994" fmla="*/ 1960510 h 3105260"/>
              <a:gd name="connsiteX995" fmla="*/ 53021 w 3105279"/>
              <a:gd name="connsiteY995" fmla="*/ 1954847 h 3105260"/>
              <a:gd name="connsiteX996" fmla="*/ 81002 w 3105279"/>
              <a:gd name="connsiteY996" fmla="*/ 1947310 h 3105260"/>
              <a:gd name="connsiteX997" fmla="*/ 82510 w 3105279"/>
              <a:gd name="connsiteY997" fmla="*/ 1952862 h 3105260"/>
              <a:gd name="connsiteX998" fmla="*/ 54565 w 3105279"/>
              <a:gd name="connsiteY998" fmla="*/ 1960491 h 3105260"/>
              <a:gd name="connsiteX999" fmla="*/ 3055219 w 3105279"/>
              <a:gd name="connsiteY999" fmla="*/ 1942474 h 3105260"/>
              <a:gd name="connsiteX1000" fmla="*/ 3027183 w 3105279"/>
              <a:gd name="connsiteY1000" fmla="*/ 1935176 h 3105260"/>
              <a:gd name="connsiteX1001" fmla="*/ 3028617 w 3105279"/>
              <a:gd name="connsiteY1001" fmla="*/ 1929605 h 3105260"/>
              <a:gd name="connsiteX1002" fmla="*/ 3056690 w 3105279"/>
              <a:gd name="connsiteY1002" fmla="*/ 1936794 h 3105260"/>
              <a:gd name="connsiteX1003" fmla="*/ 3055219 w 3105279"/>
              <a:gd name="connsiteY1003" fmla="*/ 1942456 h 3105260"/>
              <a:gd name="connsiteX1004" fmla="*/ 49289 w 3105279"/>
              <a:gd name="connsiteY1004" fmla="*/ 1940673 h 3105260"/>
              <a:gd name="connsiteX1005" fmla="*/ 47837 w 3105279"/>
              <a:gd name="connsiteY1005" fmla="*/ 1934992 h 3105260"/>
              <a:gd name="connsiteX1006" fmla="*/ 75910 w 3105279"/>
              <a:gd name="connsiteY1006" fmla="*/ 1927840 h 3105260"/>
              <a:gd name="connsiteX1007" fmla="*/ 77344 w 3105279"/>
              <a:gd name="connsiteY1007" fmla="*/ 1933411 h 3105260"/>
              <a:gd name="connsiteX1008" fmla="*/ 49289 w 3105279"/>
              <a:gd name="connsiteY1008" fmla="*/ 1940673 h 3105260"/>
              <a:gd name="connsiteX1009" fmla="*/ 3060238 w 3105279"/>
              <a:gd name="connsiteY1009" fmla="*/ 1922601 h 3105260"/>
              <a:gd name="connsiteX1010" fmla="*/ 3032110 w 3105279"/>
              <a:gd name="connsiteY1010" fmla="*/ 1915688 h 3105260"/>
              <a:gd name="connsiteX1011" fmla="*/ 3033470 w 3105279"/>
              <a:gd name="connsiteY1011" fmla="*/ 1910099 h 3105260"/>
              <a:gd name="connsiteX1012" fmla="*/ 3061635 w 3105279"/>
              <a:gd name="connsiteY1012" fmla="*/ 1916902 h 3105260"/>
              <a:gd name="connsiteX1013" fmla="*/ 3060238 w 3105279"/>
              <a:gd name="connsiteY1013" fmla="*/ 1922601 h 3105260"/>
              <a:gd name="connsiteX1014" fmla="*/ 44270 w 3105279"/>
              <a:gd name="connsiteY1014" fmla="*/ 1920762 h 3105260"/>
              <a:gd name="connsiteX1015" fmla="*/ 42891 w 3105279"/>
              <a:gd name="connsiteY1015" fmla="*/ 1915063 h 3105260"/>
              <a:gd name="connsiteX1016" fmla="*/ 71056 w 3105279"/>
              <a:gd name="connsiteY1016" fmla="*/ 1908279 h 3105260"/>
              <a:gd name="connsiteX1017" fmla="*/ 72417 w 3105279"/>
              <a:gd name="connsiteY1017" fmla="*/ 1913868 h 3105260"/>
              <a:gd name="connsiteX1018" fmla="*/ 44270 w 3105279"/>
              <a:gd name="connsiteY1018" fmla="*/ 1920762 h 3105260"/>
              <a:gd name="connsiteX1019" fmla="*/ 3065018 w 3105279"/>
              <a:gd name="connsiteY1019" fmla="*/ 1902654 h 3105260"/>
              <a:gd name="connsiteX1020" fmla="*/ 3036779 w 3105279"/>
              <a:gd name="connsiteY1020" fmla="*/ 1896127 h 3105260"/>
              <a:gd name="connsiteX1021" fmla="*/ 3038066 w 3105279"/>
              <a:gd name="connsiteY1021" fmla="*/ 1890520 h 3105260"/>
              <a:gd name="connsiteX1022" fmla="*/ 3066323 w 3105279"/>
              <a:gd name="connsiteY1022" fmla="*/ 1896954 h 3105260"/>
              <a:gd name="connsiteX1023" fmla="*/ 3065018 w 3105279"/>
              <a:gd name="connsiteY1023" fmla="*/ 1902654 h 3105260"/>
              <a:gd name="connsiteX1024" fmla="*/ 39527 w 3105279"/>
              <a:gd name="connsiteY1024" fmla="*/ 1900797 h 3105260"/>
              <a:gd name="connsiteX1025" fmla="*/ 38222 w 3105279"/>
              <a:gd name="connsiteY1025" fmla="*/ 1895079 h 3105260"/>
              <a:gd name="connsiteX1026" fmla="*/ 66479 w 3105279"/>
              <a:gd name="connsiteY1026" fmla="*/ 1888663 h 3105260"/>
              <a:gd name="connsiteX1027" fmla="*/ 67765 w 3105279"/>
              <a:gd name="connsiteY1027" fmla="*/ 1894270 h 3105260"/>
              <a:gd name="connsiteX1028" fmla="*/ 39527 w 3105279"/>
              <a:gd name="connsiteY1028" fmla="*/ 1900797 h 3105260"/>
              <a:gd name="connsiteX1029" fmla="*/ 3069504 w 3105279"/>
              <a:gd name="connsiteY1029" fmla="*/ 1882670 h 3105260"/>
              <a:gd name="connsiteX1030" fmla="*/ 3041192 w 3105279"/>
              <a:gd name="connsiteY1030" fmla="*/ 1876511 h 3105260"/>
              <a:gd name="connsiteX1031" fmla="*/ 3042405 w 3105279"/>
              <a:gd name="connsiteY1031" fmla="*/ 1870885 h 3105260"/>
              <a:gd name="connsiteX1032" fmla="*/ 3070736 w 3105279"/>
              <a:gd name="connsiteY1032" fmla="*/ 1876970 h 3105260"/>
              <a:gd name="connsiteX1033" fmla="*/ 3069504 w 3105279"/>
              <a:gd name="connsiteY1033" fmla="*/ 1882688 h 3105260"/>
              <a:gd name="connsiteX1034" fmla="*/ 35041 w 3105279"/>
              <a:gd name="connsiteY1034" fmla="*/ 1880776 h 3105260"/>
              <a:gd name="connsiteX1035" fmla="*/ 33809 w 3105279"/>
              <a:gd name="connsiteY1035" fmla="*/ 1875040 h 3105260"/>
              <a:gd name="connsiteX1036" fmla="*/ 62140 w 3105279"/>
              <a:gd name="connsiteY1036" fmla="*/ 1869010 h 3105260"/>
              <a:gd name="connsiteX1037" fmla="*/ 63353 w 3105279"/>
              <a:gd name="connsiteY1037" fmla="*/ 1874636 h 3105260"/>
              <a:gd name="connsiteX1038" fmla="*/ 35041 w 3105279"/>
              <a:gd name="connsiteY1038" fmla="*/ 1880776 h 3105260"/>
              <a:gd name="connsiteX1039" fmla="*/ 3073751 w 3105279"/>
              <a:gd name="connsiteY1039" fmla="*/ 1862612 h 3105260"/>
              <a:gd name="connsiteX1040" fmla="*/ 3045365 w 3105279"/>
              <a:gd name="connsiteY1040" fmla="*/ 1856784 h 3105260"/>
              <a:gd name="connsiteX1041" fmla="*/ 3046505 w 3105279"/>
              <a:gd name="connsiteY1041" fmla="*/ 1851158 h 3105260"/>
              <a:gd name="connsiteX1042" fmla="*/ 3074909 w 3105279"/>
              <a:gd name="connsiteY1042" fmla="*/ 1856858 h 3105260"/>
              <a:gd name="connsiteX1043" fmla="*/ 3073751 w 3105279"/>
              <a:gd name="connsiteY1043" fmla="*/ 1862612 h 3105260"/>
              <a:gd name="connsiteX1044" fmla="*/ 30813 w 3105279"/>
              <a:gd name="connsiteY1044" fmla="*/ 1860700 h 3105260"/>
              <a:gd name="connsiteX1045" fmla="*/ 29654 w 3105279"/>
              <a:gd name="connsiteY1045" fmla="*/ 1854946 h 3105260"/>
              <a:gd name="connsiteX1046" fmla="*/ 58077 w 3105279"/>
              <a:gd name="connsiteY1046" fmla="*/ 1849283 h 3105260"/>
              <a:gd name="connsiteX1047" fmla="*/ 59217 w 3105279"/>
              <a:gd name="connsiteY1047" fmla="*/ 1854927 h 3105260"/>
              <a:gd name="connsiteX1048" fmla="*/ 30831 w 3105279"/>
              <a:gd name="connsiteY1048" fmla="*/ 1860700 h 3105260"/>
              <a:gd name="connsiteX1049" fmla="*/ 3077722 w 3105279"/>
              <a:gd name="connsiteY1049" fmla="*/ 1842499 h 3105260"/>
              <a:gd name="connsiteX1050" fmla="*/ 3049262 w 3105279"/>
              <a:gd name="connsiteY1050" fmla="*/ 1837058 h 3105260"/>
              <a:gd name="connsiteX1051" fmla="*/ 3050329 w 3105279"/>
              <a:gd name="connsiteY1051" fmla="*/ 1831413 h 3105260"/>
              <a:gd name="connsiteX1052" fmla="*/ 3078807 w 3105279"/>
              <a:gd name="connsiteY1052" fmla="*/ 1836727 h 3105260"/>
              <a:gd name="connsiteX1053" fmla="*/ 3077722 w 3105279"/>
              <a:gd name="connsiteY1053" fmla="*/ 1842499 h 3105260"/>
              <a:gd name="connsiteX1054" fmla="*/ 26860 w 3105279"/>
              <a:gd name="connsiteY1054" fmla="*/ 1840551 h 3105260"/>
              <a:gd name="connsiteX1055" fmla="*/ 25775 w 3105279"/>
              <a:gd name="connsiteY1055" fmla="*/ 1834778 h 3105260"/>
              <a:gd name="connsiteX1056" fmla="*/ 54271 w 3105279"/>
              <a:gd name="connsiteY1056" fmla="*/ 1829502 h 3105260"/>
              <a:gd name="connsiteX1057" fmla="*/ 55338 w 3105279"/>
              <a:gd name="connsiteY1057" fmla="*/ 1835146 h 3105260"/>
              <a:gd name="connsiteX1058" fmla="*/ 26860 w 3105279"/>
              <a:gd name="connsiteY1058" fmla="*/ 1840532 h 3105260"/>
              <a:gd name="connsiteX1059" fmla="*/ 3081435 w 3105279"/>
              <a:gd name="connsiteY1059" fmla="*/ 1822331 h 3105260"/>
              <a:gd name="connsiteX1060" fmla="*/ 3052903 w 3105279"/>
              <a:gd name="connsiteY1060" fmla="*/ 1817276 h 3105260"/>
              <a:gd name="connsiteX1061" fmla="*/ 3053895 w 3105279"/>
              <a:gd name="connsiteY1061" fmla="*/ 1811613 h 3105260"/>
              <a:gd name="connsiteX1062" fmla="*/ 3082447 w 3105279"/>
              <a:gd name="connsiteY1062" fmla="*/ 1816559 h 3105260"/>
              <a:gd name="connsiteX1063" fmla="*/ 3081435 w 3105279"/>
              <a:gd name="connsiteY1063" fmla="*/ 1822331 h 3105260"/>
              <a:gd name="connsiteX1064" fmla="*/ 23183 w 3105279"/>
              <a:gd name="connsiteY1064" fmla="*/ 1820383 h 3105260"/>
              <a:gd name="connsiteX1065" fmla="*/ 22172 w 3105279"/>
              <a:gd name="connsiteY1065" fmla="*/ 1814592 h 3105260"/>
              <a:gd name="connsiteX1066" fmla="*/ 50723 w 3105279"/>
              <a:gd name="connsiteY1066" fmla="*/ 1809701 h 3105260"/>
              <a:gd name="connsiteX1067" fmla="*/ 51697 w 3105279"/>
              <a:gd name="connsiteY1067" fmla="*/ 1815364 h 3105260"/>
              <a:gd name="connsiteX1068" fmla="*/ 23165 w 3105279"/>
              <a:gd name="connsiteY1068" fmla="*/ 1820364 h 3105260"/>
              <a:gd name="connsiteX1069" fmla="*/ 3084873 w 3105279"/>
              <a:gd name="connsiteY1069" fmla="*/ 1802127 h 3105260"/>
              <a:gd name="connsiteX1070" fmla="*/ 3056285 w 3105279"/>
              <a:gd name="connsiteY1070" fmla="*/ 1797420 h 3105260"/>
              <a:gd name="connsiteX1071" fmla="*/ 3057205 w 3105279"/>
              <a:gd name="connsiteY1071" fmla="*/ 1791758 h 3105260"/>
              <a:gd name="connsiteX1072" fmla="*/ 3085811 w 3105279"/>
              <a:gd name="connsiteY1072" fmla="*/ 1796336 h 3105260"/>
              <a:gd name="connsiteX1073" fmla="*/ 3084873 w 3105279"/>
              <a:gd name="connsiteY1073" fmla="*/ 1802127 h 3105260"/>
              <a:gd name="connsiteX1074" fmla="*/ 19782 w 3105279"/>
              <a:gd name="connsiteY1074" fmla="*/ 1800141 h 3105260"/>
              <a:gd name="connsiteX1075" fmla="*/ 18863 w 3105279"/>
              <a:gd name="connsiteY1075" fmla="*/ 1794350 h 3105260"/>
              <a:gd name="connsiteX1076" fmla="*/ 47487 w 3105279"/>
              <a:gd name="connsiteY1076" fmla="*/ 1789846 h 3105260"/>
              <a:gd name="connsiteX1077" fmla="*/ 48388 w 3105279"/>
              <a:gd name="connsiteY1077" fmla="*/ 1795527 h 3105260"/>
              <a:gd name="connsiteX1078" fmla="*/ 19782 w 3105279"/>
              <a:gd name="connsiteY1078" fmla="*/ 1800160 h 3105260"/>
              <a:gd name="connsiteX1079" fmla="*/ 3088054 w 3105279"/>
              <a:gd name="connsiteY1079" fmla="*/ 1781849 h 3105260"/>
              <a:gd name="connsiteX1080" fmla="*/ 3059392 w 3105279"/>
              <a:gd name="connsiteY1080" fmla="*/ 1777547 h 3105260"/>
              <a:gd name="connsiteX1081" fmla="*/ 3060238 w 3105279"/>
              <a:gd name="connsiteY1081" fmla="*/ 1771848 h 3105260"/>
              <a:gd name="connsiteX1082" fmla="*/ 3088900 w 3105279"/>
              <a:gd name="connsiteY1082" fmla="*/ 1776039 h 3105260"/>
              <a:gd name="connsiteX1083" fmla="*/ 3088035 w 3105279"/>
              <a:gd name="connsiteY1083" fmla="*/ 1781830 h 3105260"/>
              <a:gd name="connsiteX1084" fmla="*/ 16638 w 3105279"/>
              <a:gd name="connsiteY1084" fmla="*/ 1779863 h 3105260"/>
              <a:gd name="connsiteX1085" fmla="*/ 15792 w 3105279"/>
              <a:gd name="connsiteY1085" fmla="*/ 1774054 h 3105260"/>
              <a:gd name="connsiteX1086" fmla="*/ 44472 w 3105279"/>
              <a:gd name="connsiteY1086" fmla="*/ 1769917 h 3105260"/>
              <a:gd name="connsiteX1087" fmla="*/ 45300 w 3105279"/>
              <a:gd name="connsiteY1087" fmla="*/ 1775598 h 3105260"/>
              <a:gd name="connsiteX1088" fmla="*/ 16638 w 3105279"/>
              <a:gd name="connsiteY1088" fmla="*/ 1779845 h 3105260"/>
              <a:gd name="connsiteX1089" fmla="*/ 3090959 w 3105279"/>
              <a:gd name="connsiteY1089" fmla="*/ 1761552 h 3105260"/>
              <a:gd name="connsiteX1090" fmla="*/ 3062260 w 3105279"/>
              <a:gd name="connsiteY1090" fmla="*/ 1757618 h 3105260"/>
              <a:gd name="connsiteX1091" fmla="*/ 3063032 w 3105279"/>
              <a:gd name="connsiteY1091" fmla="*/ 1751937 h 3105260"/>
              <a:gd name="connsiteX1092" fmla="*/ 3091749 w 3105279"/>
              <a:gd name="connsiteY1092" fmla="*/ 1755743 h 3105260"/>
              <a:gd name="connsiteX1093" fmla="*/ 3090959 w 3105279"/>
              <a:gd name="connsiteY1093" fmla="*/ 1761552 h 3105260"/>
              <a:gd name="connsiteX1094" fmla="*/ 13770 w 3105279"/>
              <a:gd name="connsiteY1094" fmla="*/ 1759548 h 3105260"/>
              <a:gd name="connsiteX1095" fmla="*/ 12998 w 3105279"/>
              <a:gd name="connsiteY1095" fmla="*/ 1753739 h 3105260"/>
              <a:gd name="connsiteX1096" fmla="*/ 41733 w 3105279"/>
              <a:gd name="connsiteY1096" fmla="*/ 1749988 h 3105260"/>
              <a:gd name="connsiteX1097" fmla="*/ 42487 w 3105279"/>
              <a:gd name="connsiteY1097" fmla="*/ 1755688 h 3105260"/>
              <a:gd name="connsiteX1098" fmla="*/ 13770 w 3105279"/>
              <a:gd name="connsiteY1098" fmla="*/ 1759548 h 3105260"/>
              <a:gd name="connsiteX1099" fmla="*/ 3093606 w 3105279"/>
              <a:gd name="connsiteY1099" fmla="*/ 1741219 h 3105260"/>
              <a:gd name="connsiteX1100" fmla="*/ 3064852 w 3105279"/>
              <a:gd name="connsiteY1100" fmla="*/ 1737671 h 3105260"/>
              <a:gd name="connsiteX1101" fmla="*/ 3065551 w 3105279"/>
              <a:gd name="connsiteY1101" fmla="*/ 1731972 h 3105260"/>
              <a:gd name="connsiteX1102" fmla="*/ 3094323 w 3105279"/>
              <a:gd name="connsiteY1102" fmla="*/ 1735409 h 3105260"/>
              <a:gd name="connsiteX1103" fmla="*/ 3093606 w 3105279"/>
              <a:gd name="connsiteY1103" fmla="*/ 1741237 h 3105260"/>
              <a:gd name="connsiteX1104" fmla="*/ 11159 w 3105279"/>
              <a:gd name="connsiteY1104" fmla="*/ 1739197 h 3105260"/>
              <a:gd name="connsiteX1105" fmla="*/ 10461 w 3105279"/>
              <a:gd name="connsiteY1105" fmla="*/ 1733369 h 3105260"/>
              <a:gd name="connsiteX1106" fmla="*/ 39233 w 3105279"/>
              <a:gd name="connsiteY1106" fmla="*/ 1730004 h 3105260"/>
              <a:gd name="connsiteX1107" fmla="*/ 39913 w 3105279"/>
              <a:gd name="connsiteY1107" fmla="*/ 1735704 h 3105260"/>
              <a:gd name="connsiteX1108" fmla="*/ 11141 w 3105279"/>
              <a:gd name="connsiteY1108" fmla="*/ 1739178 h 3105260"/>
              <a:gd name="connsiteX1109" fmla="*/ 3095996 w 3105279"/>
              <a:gd name="connsiteY1109" fmla="*/ 1720849 h 3105260"/>
              <a:gd name="connsiteX1110" fmla="*/ 3067206 w 3105279"/>
              <a:gd name="connsiteY1110" fmla="*/ 1717668 h 3105260"/>
              <a:gd name="connsiteX1111" fmla="*/ 3067831 w 3105279"/>
              <a:gd name="connsiteY1111" fmla="*/ 1711951 h 3105260"/>
              <a:gd name="connsiteX1112" fmla="*/ 3096639 w 3105279"/>
              <a:gd name="connsiteY1112" fmla="*/ 1715002 h 3105260"/>
              <a:gd name="connsiteX1113" fmla="*/ 3096014 w 3105279"/>
              <a:gd name="connsiteY1113" fmla="*/ 1720849 h 3105260"/>
              <a:gd name="connsiteX1114" fmla="*/ 8843 w 3105279"/>
              <a:gd name="connsiteY1114" fmla="*/ 1718827 h 3105260"/>
              <a:gd name="connsiteX1115" fmla="*/ 8218 w 3105279"/>
              <a:gd name="connsiteY1115" fmla="*/ 1712999 h 3105260"/>
              <a:gd name="connsiteX1116" fmla="*/ 37045 w 3105279"/>
              <a:gd name="connsiteY1116" fmla="*/ 1710002 h 3105260"/>
              <a:gd name="connsiteX1117" fmla="*/ 37652 w 3105279"/>
              <a:gd name="connsiteY1117" fmla="*/ 1715720 h 3105260"/>
              <a:gd name="connsiteX1118" fmla="*/ 8843 w 3105279"/>
              <a:gd name="connsiteY1118" fmla="*/ 1718827 h 3105260"/>
              <a:gd name="connsiteX1119" fmla="*/ 3098092 w 3105279"/>
              <a:gd name="connsiteY1119" fmla="*/ 1700442 h 3105260"/>
              <a:gd name="connsiteX1120" fmla="*/ 3069246 w 3105279"/>
              <a:gd name="connsiteY1120" fmla="*/ 1697647 h 3105260"/>
              <a:gd name="connsiteX1121" fmla="*/ 3069780 w 3105279"/>
              <a:gd name="connsiteY1121" fmla="*/ 1691930 h 3105260"/>
              <a:gd name="connsiteX1122" fmla="*/ 3098625 w 3105279"/>
              <a:gd name="connsiteY1122" fmla="*/ 1694596 h 3105260"/>
              <a:gd name="connsiteX1123" fmla="*/ 3098073 w 3105279"/>
              <a:gd name="connsiteY1123" fmla="*/ 1700442 h 3105260"/>
              <a:gd name="connsiteX1124" fmla="*/ 6784 w 3105279"/>
              <a:gd name="connsiteY1124" fmla="*/ 1698420 h 3105260"/>
              <a:gd name="connsiteX1125" fmla="*/ 6251 w 3105279"/>
              <a:gd name="connsiteY1125" fmla="*/ 1692592 h 3105260"/>
              <a:gd name="connsiteX1126" fmla="*/ 35115 w 3105279"/>
              <a:gd name="connsiteY1126" fmla="*/ 1689981 h 3105260"/>
              <a:gd name="connsiteX1127" fmla="*/ 35648 w 3105279"/>
              <a:gd name="connsiteY1127" fmla="*/ 1695717 h 3105260"/>
              <a:gd name="connsiteX1128" fmla="*/ 6802 w 3105279"/>
              <a:gd name="connsiteY1128" fmla="*/ 1698420 h 3105260"/>
              <a:gd name="connsiteX1129" fmla="*/ 3099930 w 3105279"/>
              <a:gd name="connsiteY1129" fmla="*/ 1679998 h 3105260"/>
              <a:gd name="connsiteX1130" fmla="*/ 3071048 w 3105279"/>
              <a:gd name="connsiteY1130" fmla="*/ 1677590 h 3105260"/>
              <a:gd name="connsiteX1131" fmla="*/ 3071508 w 3105279"/>
              <a:gd name="connsiteY1131" fmla="*/ 1671872 h 3105260"/>
              <a:gd name="connsiteX1132" fmla="*/ 3100390 w 3105279"/>
              <a:gd name="connsiteY1132" fmla="*/ 1674152 h 3105260"/>
              <a:gd name="connsiteX1133" fmla="*/ 3099912 w 3105279"/>
              <a:gd name="connsiteY1133" fmla="*/ 1679998 h 3105260"/>
              <a:gd name="connsiteX1134" fmla="*/ 5001 w 3105279"/>
              <a:gd name="connsiteY1134" fmla="*/ 1677976 h 3105260"/>
              <a:gd name="connsiteX1135" fmla="*/ 4541 w 3105279"/>
              <a:gd name="connsiteY1135" fmla="*/ 1672130 h 3105260"/>
              <a:gd name="connsiteX1136" fmla="*/ 33423 w 3105279"/>
              <a:gd name="connsiteY1136" fmla="*/ 1669924 h 3105260"/>
              <a:gd name="connsiteX1137" fmla="*/ 33883 w 3105279"/>
              <a:gd name="connsiteY1137" fmla="*/ 1675660 h 3105260"/>
              <a:gd name="connsiteX1138" fmla="*/ 5001 w 3105279"/>
              <a:gd name="connsiteY1138" fmla="*/ 1677994 h 3105260"/>
              <a:gd name="connsiteX1139" fmla="*/ 3101493 w 3105279"/>
              <a:gd name="connsiteY1139" fmla="*/ 1659555 h 3105260"/>
              <a:gd name="connsiteX1140" fmla="*/ 3072593 w 3105279"/>
              <a:gd name="connsiteY1140" fmla="*/ 1657514 h 3105260"/>
              <a:gd name="connsiteX1141" fmla="*/ 3072979 w 3105279"/>
              <a:gd name="connsiteY1141" fmla="*/ 1651778 h 3105260"/>
              <a:gd name="connsiteX1142" fmla="*/ 3101897 w 3105279"/>
              <a:gd name="connsiteY1142" fmla="*/ 1653690 h 3105260"/>
              <a:gd name="connsiteX1143" fmla="*/ 3101493 w 3105279"/>
              <a:gd name="connsiteY1143" fmla="*/ 1659555 h 3105260"/>
              <a:gd name="connsiteX1144" fmla="*/ 3475 w 3105279"/>
              <a:gd name="connsiteY1144" fmla="*/ 1657532 h 3105260"/>
              <a:gd name="connsiteX1145" fmla="*/ 3089 w 3105279"/>
              <a:gd name="connsiteY1145" fmla="*/ 1651686 h 3105260"/>
              <a:gd name="connsiteX1146" fmla="*/ 32008 w 3105279"/>
              <a:gd name="connsiteY1146" fmla="*/ 1649848 h 3105260"/>
              <a:gd name="connsiteX1147" fmla="*/ 32375 w 3105279"/>
              <a:gd name="connsiteY1147" fmla="*/ 1655584 h 3105260"/>
              <a:gd name="connsiteX1148" fmla="*/ 3475 w 3105279"/>
              <a:gd name="connsiteY1148" fmla="*/ 1657532 h 3105260"/>
              <a:gd name="connsiteX1149" fmla="*/ 3102798 w 3105279"/>
              <a:gd name="connsiteY1149" fmla="*/ 1639074 h 3105260"/>
              <a:gd name="connsiteX1150" fmla="*/ 3073879 w 3105279"/>
              <a:gd name="connsiteY1150" fmla="*/ 1637420 h 3105260"/>
              <a:gd name="connsiteX1151" fmla="*/ 3074192 w 3105279"/>
              <a:gd name="connsiteY1151" fmla="*/ 1631684 h 3105260"/>
              <a:gd name="connsiteX1152" fmla="*/ 3103129 w 3105279"/>
              <a:gd name="connsiteY1152" fmla="*/ 1633210 h 3105260"/>
              <a:gd name="connsiteX1153" fmla="*/ 3102817 w 3105279"/>
              <a:gd name="connsiteY1153" fmla="*/ 1639074 h 3105260"/>
              <a:gd name="connsiteX1154" fmla="*/ 2243 w 3105279"/>
              <a:gd name="connsiteY1154" fmla="*/ 1637052 h 3105260"/>
              <a:gd name="connsiteX1155" fmla="*/ 1930 w 3105279"/>
              <a:gd name="connsiteY1155" fmla="*/ 1631206 h 3105260"/>
              <a:gd name="connsiteX1156" fmla="*/ 30868 w 3105279"/>
              <a:gd name="connsiteY1156" fmla="*/ 1629753 h 3105260"/>
              <a:gd name="connsiteX1157" fmla="*/ 31162 w 3105279"/>
              <a:gd name="connsiteY1157" fmla="*/ 1635489 h 3105260"/>
              <a:gd name="connsiteX1158" fmla="*/ 2225 w 3105279"/>
              <a:gd name="connsiteY1158" fmla="*/ 1637052 h 3105260"/>
              <a:gd name="connsiteX1159" fmla="*/ 3103828 w 3105279"/>
              <a:gd name="connsiteY1159" fmla="*/ 1618576 h 3105260"/>
              <a:gd name="connsiteX1160" fmla="*/ 3074891 w 3105279"/>
              <a:gd name="connsiteY1160" fmla="*/ 1617307 h 3105260"/>
              <a:gd name="connsiteX1161" fmla="*/ 3075130 w 3105279"/>
              <a:gd name="connsiteY1161" fmla="*/ 1611571 h 3105260"/>
              <a:gd name="connsiteX1162" fmla="*/ 3104085 w 3105279"/>
              <a:gd name="connsiteY1162" fmla="*/ 1612711 h 3105260"/>
              <a:gd name="connsiteX1163" fmla="*/ 3103846 w 3105279"/>
              <a:gd name="connsiteY1163" fmla="*/ 1618576 h 3105260"/>
              <a:gd name="connsiteX1164" fmla="*/ 1269 w 3105279"/>
              <a:gd name="connsiteY1164" fmla="*/ 1616572 h 3105260"/>
              <a:gd name="connsiteX1165" fmla="*/ 1048 w 3105279"/>
              <a:gd name="connsiteY1165" fmla="*/ 1610707 h 3105260"/>
              <a:gd name="connsiteX1166" fmla="*/ 30004 w 3105279"/>
              <a:gd name="connsiteY1166" fmla="*/ 1609641 h 3105260"/>
              <a:gd name="connsiteX1167" fmla="*/ 30224 w 3105279"/>
              <a:gd name="connsiteY1167" fmla="*/ 1615377 h 3105260"/>
              <a:gd name="connsiteX1168" fmla="*/ 1269 w 3105279"/>
              <a:gd name="connsiteY1168" fmla="*/ 1616553 h 3105260"/>
              <a:gd name="connsiteX1169" fmla="*/ 3104581 w 3105279"/>
              <a:gd name="connsiteY1169" fmla="*/ 1598058 h 3105260"/>
              <a:gd name="connsiteX1170" fmla="*/ 3075626 w 3105279"/>
              <a:gd name="connsiteY1170" fmla="*/ 1597194 h 3105260"/>
              <a:gd name="connsiteX1171" fmla="*/ 3075791 w 3105279"/>
              <a:gd name="connsiteY1171" fmla="*/ 1591440 h 3105260"/>
              <a:gd name="connsiteX1172" fmla="*/ 3104765 w 3105279"/>
              <a:gd name="connsiteY1172" fmla="*/ 1592194 h 3105260"/>
              <a:gd name="connsiteX1173" fmla="*/ 3104600 w 3105279"/>
              <a:gd name="connsiteY1173" fmla="*/ 1598058 h 3105260"/>
              <a:gd name="connsiteX1174" fmla="*/ 570 w 3105279"/>
              <a:gd name="connsiteY1174" fmla="*/ 1596073 h 3105260"/>
              <a:gd name="connsiteX1175" fmla="*/ 423 w 3105279"/>
              <a:gd name="connsiteY1175" fmla="*/ 1590208 h 3105260"/>
              <a:gd name="connsiteX1176" fmla="*/ 29397 w 3105279"/>
              <a:gd name="connsiteY1176" fmla="*/ 1589546 h 3105260"/>
              <a:gd name="connsiteX1177" fmla="*/ 29544 w 3105279"/>
              <a:gd name="connsiteY1177" fmla="*/ 1595282 h 3105260"/>
              <a:gd name="connsiteX1178" fmla="*/ 588 w 3105279"/>
              <a:gd name="connsiteY1178" fmla="*/ 1596073 h 3105260"/>
              <a:gd name="connsiteX1179" fmla="*/ 3105059 w 3105279"/>
              <a:gd name="connsiteY1179" fmla="*/ 1577541 h 3105260"/>
              <a:gd name="connsiteX1180" fmla="*/ 3076085 w 3105279"/>
              <a:gd name="connsiteY1180" fmla="*/ 1577063 h 3105260"/>
              <a:gd name="connsiteX1181" fmla="*/ 3076177 w 3105279"/>
              <a:gd name="connsiteY1181" fmla="*/ 1571309 h 3105260"/>
              <a:gd name="connsiteX1182" fmla="*/ 3105152 w 3105279"/>
              <a:gd name="connsiteY1182" fmla="*/ 1571695 h 3105260"/>
              <a:gd name="connsiteX1183" fmla="*/ 3105059 w 3105279"/>
              <a:gd name="connsiteY1183" fmla="*/ 1577560 h 3105260"/>
              <a:gd name="connsiteX1184" fmla="*/ 147 w 3105279"/>
              <a:gd name="connsiteY1184" fmla="*/ 1575556 h 3105260"/>
              <a:gd name="connsiteX1185" fmla="*/ 74 w 3105279"/>
              <a:gd name="connsiteY1185" fmla="*/ 1569709 h 3105260"/>
              <a:gd name="connsiteX1186" fmla="*/ 29048 w 3105279"/>
              <a:gd name="connsiteY1186" fmla="*/ 1569415 h 3105260"/>
              <a:gd name="connsiteX1187" fmla="*/ 29121 w 3105279"/>
              <a:gd name="connsiteY1187" fmla="*/ 1575170 h 3105260"/>
              <a:gd name="connsiteX1188" fmla="*/ 147 w 3105279"/>
              <a:gd name="connsiteY1188" fmla="*/ 1575574 h 3105260"/>
              <a:gd name="connsiteX1189" fmla="*/ 3105280 w 3105279"/>
              <a:gd name="connsiteY1189" fmla="*/ 1557006 h 3105260"/>
              <a:gd name="connsiteX1190" fmla="*/ 3076306 w 3105279"/>
              <a:gd name="connsiteY1190" fmla="*/ 1556895 h 3105260"/>
              <a:gd name="connsiteX1191" fmla="*/ 3076306 w 3105279"/>
              <a:gd name="connsiteY1191" fmla="*/ 1551417 h 3105260"/>
              <a:gd name="connsiteX1192" fmla="*/ 3076306 w 3105279"/>
              <a:gd name="connsiteY1192" fmla="*/ 1551141 h 3105260"/>
              <a:gd name="connsiteX1193" fmla="*/ 3105280 w 3105279"/>
              <a:gd name="connsiteY1193" fmla="*/ 1551141 h 3105260"/>
              <a:gd name="connsiteX1194" fmla="*/ 3105280 w 3105279"/>
              <a:gd name="connsiteY1194" fmla="*/ 1551417 h 3105260"/>
              <a:gd name="connsiteX1195" fmla="*/ 3105280 w 3105279"/>
              <a:gd name="connsiteY1195" fmla="*/ 1557006 h 3105260"/>
              <a:gd name="connsiteX1196" fmla="*/ 28974 w 3105279"/>
              <a:gd name="connsiteY1196" fmla="*/ 1555057 h 3105260"/>
              <a:gd name="connsiteX1197" fmla="*/ 0 w 3105279"/>
              <a:gd name="connsiteY1197" fmla="*/ 1555057 h 3105260"/>
              <a:gd name="connsiteX1198" fmla="*/ 0 w 3105279"/>
              <a:gd name="connsiteY1198" fmla="*/ 1553862 h 3105260"/>
              <a:gd name="connsiteX1199" fmla="*/ 0 w 3105279"/>
              <a:gd name="connsiteY1199" fmla="*/ 1549211 h 3105260"/>
              <a:gd name="connsiteX1200" fmla="*/ 28974 w 3105279"/>
              <a:gd name="connsiteY1200" fmla="*/ 1549303 h 3105260"/>
              <a:gd name="connsiteX1201" fmla="*/ 28974 w 3105279"/>
              <a:gd name="connsiteY1201" fmla="*/ 1553844 h 3105260"/>
              <a:gd name="connsiteX1202" fmla="*/ 28974 w 3105279"/>
              <a:gd name="connsiteY1202" fmla="*/ 1555075 h 3105260"/>
              <a:gd name="connsiteX1203" fmla="*/ 3076233 w 3105279"/>
              <a:gd name="connsiteY1203" fmla="*/ 1536783 h 3105260"/>
              <a:gd name="connsiteX1204" fmla="*/ 3076159 w 3105279"/>
              <a:gd name="connsiteY1204" fmla="*/ 1531028 h 3105260"/>
              <a:gd name="connsiteX1205" fmla="*/ 3105133 w 3105279"/>
              <a:gd name="connsiteY1205" fmla="*/ 1530642 h 3105260"/>
              <a:gd name="connsiteX1206" fmla="*/ 3105207 w 3105279"/>
              <a:gd name="connsiteY1206" fmla="*/ 1536489 h 3105260"/>
              <a:gd name="connsiteX1207" fmla="*/ 3076233 w 3105279"/>
              <a:gd name="connsiteY1207" fmla="*/ 1536764 h 3105260"/>
              <a:gd name="connsiteX1208" fmla="*/ 29084 w 3105279"/>
              <a:gd name="connsiteY1208" fmla="*/ 1534908 h 3105260"/>
              <a:gd name="connsiteX1209" fmla="*/ 110 w 3105279"/>
              <a:gd name="connsiteY1209" fmla="*/ 1534540 h 3105260"/>
              <a:gd name="connsiteX1210" fmla="*/ 202 w 3105279"/>
              <a:gd name="connsiteY1210" fmla="*/ 1528675 h 3105260"/>
              <a:gd name="connsiteX1211" fmla="*/ 29176 w 3105279"/>
              <a:gd name="connsiteY1211" fmla="*/ 1529153 h 3105260"/>
              <a:gd name="connsiteX1212" fmla="*/ 29103 w 3105279"/>
              <a:gd name="connsiteY1212" fmla="*/ 1534908 h 3105260"/>
              <a:gd name="connsiteX1213" fmla="*/ 3075902 w 3105279"/>
              <a:gd name="connsiteY1213" fmla="*/ 1516670 h 3105260"/>
              <a:gd name="connsiteX1214" fmla="*/ 3075755 w 3105279"/>
              <a:gd name="connsiteY1214" fmla="*/ 1510934 h 3105260"/>
              <a:gd name="connsiteX1215" fmla="*/ 3104710 w 3105279"/>
              <a:gd name="connsiteY1215" fmla="*/ 1510143 h 3105260"/>
              <a:gd name="connsiteX1216" fmla="*/ 3104857 w 3105279"/>
              <a:gd name="connsiteY1216" fmla="*/ 1516008 h 3105260"/>
              <a:gd name="connsiteX1217" fmla="*/ 3075883 w 3105279"/>
              <a:gd name="connsiteY1217" fmla="*/ 1516670 h 3105260"/>
              <a:gd name="connsiteX1218" fmla="*/ 29470 w 3105279"/>
              <a:gd name="connsiteY1218" fmla="*/ 1514758 h 3105260"/>
              <a:gd name="connsiteX1219" fmla="*/ 496 w 3105279"/>
              <a:gd name="connsiteY1219" fmla="*/ 1514023 h 3105260"/>
              <a:gd name="connsiteX1220" fmla="*/ 662 w 3105279"/>
              <a:gd name="connsiteY1220" fmla="*/ 1508158 h 3105260"/>
              <a:gd name="connsiteX1221" fmla="*/ 29618 w 3105279"/>
              <a:gd name="connsiteY1221" fmla="*/ 1509022 h 3105260"/>
              <a:gd name="connsiteX1222" fmla="*/ 29452 w 3105279"/>
              <a:gd name="connsiteY1222" fmla="*/ 1514776 h 3105260"/>
              <a:gd name="connsiteX1223" fmla="*/ 3075313 w 3105279"/>
              <a:gd name="connsiteY1223" fmla="*/ 1496557 h 3105260"/>
              <a:gd name="connsiteX1224" fmla="*/ 3075093 w 3105279"/>
              <a:gd name="connsiteY1224" fmla="*/ 1490821 h 3105260"/>
              <a:gd name="connsiteX1225" fmla="*/ 3104048 w 3105279"/>
              <a:gd name="connsiteY1225" fmla="*/ 1489663 h 3105260"/>
              <a:gd name="connsiteX1226" fmla="*/ 3104269 w 3105279"/>
              <a:gd name="connsiteY1226" fmla="*/ 1495528 h 3105260"/>
              <a:gd name="connsiteX1227" fmla="*/ 3075313 w 3105279"/>
              <a:gd name="connsiteY1227" fmla="*/ 1496557 h 3105260"/>
              <a:gd name="connsiteX1228" fmla="*/ 30132 w 3105279"/>
              <a:gd name="connsiteY1228" fmla="*/ 1494645 h 3105260"/>
              <a:gd name="connsiteX1229" fmla="*/ 1177 w 3105279"/>
              <a:gd name="connsiteY1229" fmla="*/ 1493506 h 3105260"/>
              <a:gd name="connsiteX1230" fmla="*/ 1416 w 3105279"/>
              <a:gd name="connsiteY1230" fmla="*/ 1487641 h 3105260"/>
              <a:gd name="connsiteX1231" fmla="*/ 30371 w 3105279"/>
              <a:gd name="connsiteY1231" fmla="*/ 1488873 h 3105260"/>
              <a:gd name="connsiteX1232" fmla="*/ 30132 w 3105279"/>
              <a:gd name="connsiteY1232" fmla="*/ 1494627 h 3105260"/>
              <a:gd name="connsiteX1233" fmla="*/ 3074449 w 3105279"/>
              <a:gd name="connsiteY1233" fmla="*/ 1476463 h 3105260"/>
              <a:gd name="connsiteX1234" fmla="*/ 3074155 w 3105279"/>
              <a:gd name="connsiteY1234" fmla="*/ 1470709 h 3105260"/>
              <a:gd name="connsiteX1235" fmla="*/ 3103092 w 3105279"/>
              <a:gd name="connsiteY1235" fmla="*/ 1469164 h 3105260"/>
              <a:gd name="connsiteX1236" fmla="*/ 3103387 w 3105279"/>
              <a:gd name="connsiteY1236" fmla="*/ 1475011 h 3105260"/>
              <a:gd name="connsiteX1237" fmla="*/ 3074449 w 3105279"/>
              <a:gd name="connsiteY1237" fmla="*/ 1476445 h 3105260"/>
              <a:gd name="connsiteX1238" fmla="*/ 31052 w 3105279"/>
              <a:gd name="connsiteY1238" fmla="*/ 1474514 h 3105260"/>
              <a:gd name="connsiteX1239" fmla="*/ 2114 w 3105279"/>
              <a:gd name="connsiteY1239" fmla="*/ 1473007 h 3105260"/>
              <a:gd name="connsiteX1240" fmla="*/ 2427 w 3105279"/>
              <a:gd name="connsiteY1240" fmla="*/ 1467160 h 3105260"/>
              <a:gd name="connsiteX1241" fmla="*/ 31364 w 3105279"/>
              <a:gd name="connsiteY1241" fmla="*/ 1468778 h 3105260"/>
              <a:gd name="connsiteX1242" fmla="*/ 31052 w 3105279"/>
              <a:gd name="connsiteY1242" fmla="*/ 1474533 h 3105260"/>
              <a:gd name="connsiteX1243" fmla="*/ 3073328 w 3105279"/>
              <a:gd name="connsiteY1243" fmla="*/ 1456350 h 3105260"/>
              <a:gd name="connsiteX1244" fmla="*/ 3072960 w 3105279"/>
              <a:gd name="connsiteY1244" fmla="*/ 1450614 h 3105260"/>
              <a:gd name="connsiteX1245" fmla="*/ 3101861 w 3105279"/>
              <a:gd name="connsiteY1245" fmla="*/ 1448684 h 3105260"/>
              <a:gd name="connsiteX1246" fmla="*/ 3102247 w 3105279"/>
              <a:gd name="connsiteY1246" fmla="*/ 1454530 h 3105260"/>
              <a:gd name="connsiteX1247" fmla="*/ 3073328 w 3105279"/>
              <a:gd name="connsiteY1247" fmla="*/ 1456350 h 3105260"/>
              <a:gd name="connsiteX1248" fmla="*/ 32228 w 3105279"/>
              <a:gd name="connsiteY1248" fmla="*/ 1454420 h 3105260"/>
              <a:gd name="connsiteX1249" fmla="*/ 3309 w 3105279"/>
              <a:gd name="connsiteY1249" fmla="*/ 1452526 h 3105260"/>
              <a:gd name="connsiteX1250" fmla="*/ 3695 w 3105279"/>
              <a:gd name="connsiteY1250" fmla="*/ 1446680 h 3105260"/>
              <a:gd name="connsiteX1251" fmla="*/ 32596 w 3105279"/>
              <a:gd name="connsiteY1251" fmla="*/ 1448684 h 3105260"/>
              <a:gd name="connsiteX1252" fmla="*/ 32210 w 3105279"/>
              <a:gd name="connsiteY1252" fmla="*/ 1454420 h 3105260"/>
              <a:gd name="connsiteX1253" fmla="*/ 3071930 w 3105279"/>
              <a:gd name="connsiteY1253" fmla="*/ 1436274 h 3105260"/>
              <a:gd name="connsiteX1254" fmla="*/ 3071489 w 3105279"/>
              <a:gd name="connsiteY1254" fmla="*/ 1430538 h 3105260"/>
              <a:gd name="connsiteX1255" fmla="*/ 3100372 w 3105279"/>
              <a:gd name="connsiteY1255" fmla="*/ 1428222 h 3105260"/>
              <a:gd name="connsiteX1256" fmla="*/ 3100831 w 3105279"/>
              <a:gd name="connsiteY1256" fmla="*/ 1434068 h 3105260"/>
              <a:gd name="connsiteX1257" fmla="*/ 3071949 w 3105279"/>
              <a:gd name="connsiteY1257" fmla="*/ 1436274 h 3105260"/>
              <a:gd name="connsiteX1258" fmla="*/ 33681 w 3105279"/>
              <a:gd name="connsiteY1258" fmla="*/ 1434326 h 3105260"/>
              <a:gd name="connsiteX1259" fmla="*/ 4798 w 3105279"/>
              <a:gd name="connsiteY1259" fmla="*/ 1432046 h 3105260"/>
              <a:gd name="connsiteX1260" fmla="*/ 5276 w 3105279"/>
              <a:gd name="connsiteY1260" fmla="*/ 1426200 h 3105260"/>
              <a:gd name="connsiteX1261" fmla="*/ 34159 w 3105279"/>
              <a:gd name="connsiteY1261" fmla="*/ 1428590 h 3105260"/>
              <a:gd name="connsiteX1262" fmla="*/ 33699 w 3105279"/>
              <a:gd name="connsiteY1262" fmla="*/ 1434326 h 3105260"/>
              <a:gd name="connsiteX1263" fmla="*/ 3070258 w 3105279"/>
              <a:gd name="connsiteY1263" fmla="*/ 1416217 h 3105260"/>
              <a:gd name="connsiteX1264" fmla="*/ 3069724 w 3105279"/>
              <a:gd name="connsiteY1264" fmla="*/ 1410481 h 3105260"/>
              <a:gd name="connsiteX1265" fmla="*/ 3098570 w 3105279"/>
              <a:gd name="connsiteY1265" fmla="*/ 1407797 h 3105260"/>
              <a:gd name="connsiteX1266" fmla="*/ 3099103 w 3105279"/>
              <a:gd name="connsiteY1266" fmla="*/ 1413625 h 3105260"/>
              <a:gd name="connsiteX1267" fmla="*/ 3070239 w 3105279"/>
              <a:gd name="connsiteY1267" fmla="*/ 1416217 h 3105260"/>
              <a:gd name="connsiteX1268" fmla="*/ 35390 w 3105279"/>
              <a:gd name="connsiteY1268" fmla="*/ 1414268 h 3105260"/>
              <a:gd name="connsiteX1269" fmla="*/ 6545 w 3105279"/>
              <a:gd name="connsiteY1269" fmla="*/ 1411602 h 3105260"/>
              <a:gd name="connsiteX1270" fmla="*/ 7096 w 3105279"/>
              <a:gd name="connsiteY1270" fmla="*/ 1405756 h 3105260"/>
              <a:gd name="connsiteX1271" fmla="*/ 35942 w 3105279"/>
              <a:gd name="connsiteY1271" fmla="*/ 1408532 h 3105260"/>
              <a:gd name="connsiteX1272" fmla="*/ 35409 w 3105279"/>
              <a:gd name="connsiteY1272" fmla="*/ 1414250 h 3105260"/>
              <a:gd name="connsiteX1273" fmla="*/ 3068327 w 3105279"/>
              <a:gd name="connsiteY1273" fmla="*/ 1396178 h 3105260"/>
              <a:gd name="connsiteX1274" fmla="*/ 3067721 w 3105279"/>
              <a:gd name="connsiteY1274" fmla="*/ 1390460 h 3105260"/>
              <a:gd name="connsiteX1275" fmla="*/ 3096529 w 3105279"/>
              <a:gd name="connsiteY1275" fmla="*/ 1387390 h 3105260"/>
              <a:gd name="connsiteX1276" fmla="*/ 3097136 w 3105279"/>
              <a:gd name="connsiteY1276" fmla="*/ 1393218 h 3105260"/>
              <a:gd name="connsiteX1277" fmla="*/ 3068309 w 3105279"/>
              <a:gd name="connsiteY1277" fmla="*/ 1396178 h 3105260"/>
              <a:gd name="connsiteX1278" fmla="*/ 37376 w 3105279"/>
              <a:gd name="connsiteY1278" fmla="*/ 1394229 h 3105260"/>
              <a:gd name="connsiteX1279" fmla="*/ 8567 w 3105279"/>
              <a:gd name="connsiteY1279" fmla="*/ 1391195 h 3105260"/>
              <a:gd name="connsiteX1280" fmla="*/ 9192 w 3105279"/>
              <a:gd name="connsiteY1280" fmla="*/ 1385368 h 3105260"/>
              <a:gd name="connsiteX1281" fmla="*/ 38001 w 3105279"/>
              <a:gd name="connsiteY1281" fmla="*/ 1388511 h 3105260"/>
              <a:gd name="connsiteX1282" fmla="*/ 37394 w 3105279"/>
              <a:gd name="connsiteY1282" fmla="*/ 1394229 h 3105260"/>
              <a:gd name="connsiteX1283" fmla="*/ 3066140 w 3105279"/>
              <a:gd name="connsiteY1283" fmla="*/ 1376175 h 3105260"/>
              <a:gd name="connsiteX1284" fmla="*/ 3065459 w 3105279"/>
              <a:gd name="connsiteY1284" fmla="*/ 1370476 h 3105260"/>
              <a:gd name="connsiteX1285" fmla="*/ 3094231 w 3105279"/>
              <a:gd name="connsiteY1285" fmla="*/ 1367001 h 3105260"/>
              <a:gd name="connsiteX1286" fmla="*/ 3094930 w 3105279"/>
              <a:gd name="connsiteY1286" fmla="*/ 1372829 h 3105260"/>
              <a:gd name="connsiteX1287" fmla="*/ 3066158 w 3105279"/>
              <a:gd name="connsiteY1287" fmla="*/ 1376175 h 3105260"/>
              <a:gd name="connsiteX1288" fmla="*/ 39619 w 3105279"/>
              <a:gd name="connsiteY1288" fmla="*/ 1374227 h 3105260"/>
              <a:gd name="connsiteX1289" fmla="*/ 10847 w 3105279"/>
              <a:gd name="connsiteY1289" fmla="*/ 1370807 h 3105260"/>
              <a:gd name="connsiteX1290" fmla="*/ 11545 w 3105279"/>
              <a:gd name="connsiteY1290" fmla="*/ 1364997 h 3105260"/>
              <a:gd name="connsiteX1291" fmla="*/ 40299 w 3105279"/>
              <a:gd name="connsiteY1291" fmla="*/ 1368527 h 3105260"/>
              <a:gd name="connsiteX1292" fmla="*/ 39600 w 3105279"/>
              <a:gd name="connsiteY1292" fmla="*/ 1374245 h 3105260"/>
              <a:gd name="connsiteX1293" fmla="*/ 3063676 w 3105279"/>
              <a:gd name="connsiteY1293" fmla="*/ 1356191 h 3105260"/>
              <a:gd name="connsiteX1294" fmla="*/ 3062922 w 3105279"/>
              <a:gd name="connsiteY1294" fmla="*/ 1350492 h 3105260"/>
              <a:gd name="connsiteX1295" fmla="*/ 3091639 w 3105279"/>
              <a:gd name="connsiteY1295" fmla="*/ 1346631 h 3105260"/>
              <a:gd name="connsiteX1296" fmla="*/ 3092411 w 3105279"/>
              <a:gd name="connsiteY1296" fmla="*/ 1352459 h 3105260"/>
              <a:gd name="connsiteX1297" fmla="*/ 3063676 w 3105279"/>
              <a:gd name="connsiteY1297" fmla="*/ 1356191 h 3105260"/>
              <a:gd name="connsiteX1298" fmla="*/ 42119 w 3105279"/>
              <a:gd name="connsiteY1298" fmla="*/ 1354261 h 3105260"/>
              <a:gd name="connsiteX1299" fmla="*/ 13402 w 3105279"/>
              <a:gd name="connsiteY1299" fmla="*/ 1350455 h 3105260"/>
              <a:gd name="connsiteX1300" fmla="*/ 14175 w 3105279"/>
              <a:gd name="connsiteY1300" fmla="*/ 1344646 h 3105260"/>
              <a:gd name="connsiteX1301" fmla="*/ 42891 w 3105279"/>
              <a:gd name="connsiteY1301" fmla="*/ 1348543 h 3105260"/>
              <a:gd name="connsiteX1302" fmla="*/ 42119 w 3105279"/>
              <a:gd name="connsiteY1302" fmla="*/ 1354243 h 3105260"/>
              <a:gd name="connsiteX1303" fmla="*/ 3060955 w 3105279"/>
              <a:gd name="connsiteY1303" fmla="*/ 1336263 h 3105260"/>
              <a:gd name="connsiteX1304" fmla="*/ 3060128 w 3105279"/>
              <a:gd name="connsiteY1304" fmla="*/ 1330582 h 3105260"/>
              <a:gd name="connsiteX1305" fmla="*/ 3088789 w 3105279"/>
              <a:gd name="connsiteY1305" fmla="*/ 1326353 h 3105260"/>
              <a:gd name="connsiteX1306" fmla="*/ 3089635 w 3105279"/>
              <a:gd name="connsiteY1306" fmla="*/ 1332163 h 3105260"/>
              <a:gd name="connsiteX1307" fmla="*/ 3060955 w 3105279"/>
              <a:gd name="connsiteY1307" fmla="*/ 1336263 h 3105260"/>
              <a:gd name="connsiteX1308" fmla="*/ 44895 w 3105279"/>
              <a:gd name="connsiteY1308" fmla="*/ 1334314 h 3105260"/>
              <a:gd name="connsiteX1309" fmla="*/ 16215 w 3105279"/>
              <a:gd name="connsiteY1309" fmla="*/ 1330140 h 3105260"/>
              <a:gd name="connsiteX1310" fmla="*/ 17061 w 3105279"/>
              <a:gd name="connsiteY1310" fmla="*/ 1324349 h 3105260"/>
              <a:gd name="connsiteX1311" fmla="*/ 45722 w 3105279"/>
              <a:gd name="connsiteY1311" fmla="*/ 1328633 h 3105260"/>
              <a:gd name="connsiteX1312" fmla="*/ 44877 w 3105279"/>
              <a:gd name="connsiteY1312" fmla="*/ 1334332 h 3105260"/>
              <a:gd name="connsiteX1313" fmla="*/ 3057958 w 3105279"/>
              <a:gd name="connsiteY1313" fmla="*/ 1316352 h 3105260"/>
              <a:gd name="connsiteX1314" fmla="*/ 3057057 w 3105279"/>
              <a:gd name="connsiteY1314" fmla="*/ 1310671 h 3105260"/>
              <a:gd name="connsiteX1315" fmla="*/ 3085664 w 3105279"/>
              <a:gd name="connsiteY1315" fmla="*/ 1306057 h 3105260"/>
              <a:gd name="connsiteX1316" fmla="*/ 3086583 w 3105279"/>
              <a:gd name="connsiteY1316" fmla="*/ 1311848 h 3105260"/>
              <a:gd name="connsiteX1317" fmla="*/ 3057958 w 3105279"/>
              <a:gd name="connsiteY1317" fmla="*/ 1316334 h 3105260"/>
              <a:gd name="connsiteX1318" fmla="*/ 47929 w 3105279"/>
              <a:gd name="connsiteY1318" fmla="*/ 1314422 h 3105260"/>
              <a:gd name="connsiteX1319" fmla="*/ 19322 w 3105279"/>
              <a:gd name="connsiteY1319" fmla="*/ 1309862 h 3105260"/>
              <a:gd name="connsiteX1320" fmla="*/ 20260 w 3105279"/>
              <a:gd name="connsiteY1320" fmla="*/ 1304071 h 3105260"/>
              <a:gd name="connsiteX1321" fmla="*/ 48848 w 3105279"/>
              <a:gd name="connsiteY1321" fmla="*/ 1308741 h 3105260"/>
              <a:gd name="connsiteX1322" fmla="*/ 47929 w 3105279"/>
              <a:gd name="connsiteY1322" fmla="*/ 1314422 h 3105260"/>
              <a:gd name="connsiteX1323" fmla="*/ 3054686 w 3105279"/>
              <a:gd name="connsiteY1323" fmla="*/ 1296478 h 3105260"/>
              <a:gd name="connsiteX1324" fmla="*/ 3053712 w 3105279"/>
              <a:gd name="connsiteY1324" fmla="*/ 1290816 h 3105260"/>
              <a:gd name="connsiteX1325" fmla="*/ 3082244 w 3105279"/>
              <a:gd name="connsiteY1325" fmla="*/ 1285815 h 3105260"/>
              <a:gd name="connsiteX1326" fmla="*/ 3083237 w 3105279"/>
              <a:gd name="connsiteY1326" fmla="*/ 1291606 h 3105260"/>
              <a:gd name="connsiteX1327" fmla="*/ 3054668 w 3105279"/>
              <a:gd name="connsiteY1327" fmla="*/ 1296478 h 3105260"/>
              <a:gd name="connsiteX1328" fmla="*/ 51219 w 3105279"/>
              <a:gd name="connsiteY1328" fmla="*/ 1294566 h 3105260"/>
              <a:gd name="connsiteX1329" fmla="*/ 22668 w 3105279"/>
              <a:gd name="connsiteY1329" fmla="*/ 1289621 h 3105260"/>
              <a:gd name="connsiteX1330" fmla="*/ 23679 w 3105279"/>
              <a:gd name="connsiteY1330" fmla="*/ 1283848 h 3105260"/>
              <a:gd name="connsiteX1331" fmla="*/ 52212 w 3105279"/>
              <a:gd name="connsiteY1331" fmla="*/ 1288886 h 3105260"/>
              <a:gd name="connsiteX1332" fmla="*/ 51219 w 3105279"/>
              <a:gd name="connsiteY1332" fmla="*/ 1294548 h 3105260"/>
              <a:gd name="connsiteX1333" fmla="*/ 3051174 w 3105279"/>
              <a:gd name="connsiteY1333" fmla="*/ 1276660 h 3105260"/>
              <a:gd name="connsiteX1334" fmla="*/ 3050126 w 3105279"/>
              <a:gd name="connsiteY1334" fmla="*/ 1271016 h 3105260"/>
              <a:gd name="connsiteX1335" fmla="*/ 3078604 w 3105279"/>
              <a:gd name="connsiteY1335" fmla="*/ 1265647 h 3105260"/>
              <a:gd name="connsiteX1336" fmla="*/ 3079689 w 3105279"/>
              <a:gd name="connsiteY1336" fmla="*/ 1271420 h 3105260"/>
              <a:gd name="connsiteX1337" fmla="*/ 3051193 w 3105279"/>
              <a:gd name="connsiteY1337" fmla="*/ 1276678 h 3105260"/>
              <a:gd name="connsiteX1338" fmla="*/ 54786 w 3105279"/>
              <a:gd name="connsiteY1338" fmla="*/ 1274766 h 3105260"/>
              <a:gd name="connsiteX1339" fmla="*/ 26308 w 3105279"/>
              <a:gd name="connsiteY1339" fmla="*/ 1269453 h 3105260"/>
              <a:gd name="connsiteX1340" fmla="*/ 27393 w 3105279"/>
              <a:gd name="connsiteY1340" fmla="*/ 1263699 h 3105260"/>
              <a:gd name="connsiteX1341" fmla="*/ 55852 w 3105279"/>
              <a:gd name="connsiteY1341" fmla="*/ 1269104 h 3105260"/>
              <a:gd name="connsiteX1342" fmla="*/ 54786 w 3105279"/>
              <a:gd name="connsiteY1342" fmla="*/ 1274748 h 3105260"/>
              <a:gd name="connsiteX1343" fmla="*/ 3047387 w 3105279"/>
              <a:gd name="connsiteY1343" fmla="*/ 1256896 h 3105260"/>
              <a:gd name="connsiteX1344" fmla="*/ 3046266 w 3105279"/>
              <a:gd name="connsiteY1344" fmla="*/ 1251271 h 3105260"/>
              <a:gd name="connsiteX1345" fmla="*/ 3074670 w 3105279"/>
              <a:gd name="connsiteY1345" fmla="*/ 1245516 h 3105260"/>
              <a:gd name="connsiteX1346" fmla="*/ 3075828 w 3105279"/>
              <a:gd name="connsiteY1346" fmla="*/ 1251271 h 3105260"/>
              <a:gd name="connsiteX1347" fmla="*/ 3047406 w 3105279"/>
              <a:gd name="connsiteY1347" fmla="*/ 1256896 h 3105260"/>
              <a:gd name="connsiteX1348" fmla="*/ 58592 w 3105279"/>
              <a:gd name="connsiteY1348" fmla="*/ 1255003 h 3105260"/>
              <a:gd name="connsiteX1349" fmla="*/ 30169 w 3105279"/>
              <a:gd name="connsiteY1349" fmla="*/ 1249322 h 3105260"/>
              <a:gd name="connsiteX1350" fmla="*/ 31327 w 3105279"/>
              <a:gd name="connsiteY1350" fmla="*/ 1243568 h 3105260"/>
              <a:gd name="connsiteX1351" fmla="*/ 59713 w 3105279"/>
              <a:gd name="connsiteY1351" fmla="*/ 1249359 h 3105260"/>
              <a:gd name="connsiteX1352" fmla="*/ 58573 w 3105279"/>
              <a:gd name="connsiteY1352" fmla="*/ 1254984 h 3105260"/>
              <a:gd name="connsiteX1353" fmla="*/ 3043324 w 3105279"/>
              <a:gd name="connsiteY1353" fmla="*/ 1237170 h 3105260"/>
              <a:gd name="connsiteX1354" fmla="*/ 3042111 w 3105279"/>
              <a:gd name="connsiteY1354" fmla="*/ 1231544 h 3105260"/>
              <a:gd name="connsiteX1355" fmla="*/ 3070423 w 3105279"/>
              <a:gd name="connsiteY1355" fmla="*/ 1225422 h 3105260"/>
              <a:gd name="connsiteX1356" fmla="*/ 3071655 w 3105279"/>
              <a:gd name="connsiteY1356" fmla="*/ 1231158 h 3105260"/>
              <a:gd name="connsiteX1357" fmla="*/ 3043306 w 3105279"/>
              <a:gd name="connsiteY1357" fmla="*/ 1237170 h 3105260"/>
              <a:gd name="connsiteX1358" fmla="*/ 62673 w 3105279"/>
              <a:gd name="connsiteY1358" fmla="*/ 1235313 h 3105260"/>
              <a:gd name="connsiteX1359" fmla="*/ 34342 w 3105279"/>
              <a:gd name="connsiteY1359" fmla="*/ 1229264 h 3105260"/>
              <a:gd name="connsiteX1360" fmla="*/ 35574 w 3105279"/>
              <a:gd name="connsiteY1360" fmla="*/ 1223528 h 3105260"/>
              <a:gd name="connsiteX1361" fmla="*/ 63886 w 3105279"/>
              <a:gd name="connsiteY1361" fmla="*/ 1229687 h 3105260"/>
              <a:gd name="connsiteX1362" fmla="*/ 62673 w 3105279"/>
              <a:gd name="connsiteY1362" fmla="*/ 1235295 h 3105260"/>
              <a:gd name="connsiteX1363" fmla="*/ 3039022 w 3105279"/>
              <a:gd name="connsiteY1363" fmla="*/ 1217498 h 3105260"/>
              <a:gd name="connsiteX1364" fmla="*/ 3037735 w 3105279"/>
              <a:gd name="connsiteY1364" fmla="*/ 1211891 h 3105260"/>
              <a:gd name="connsiteX1365" fmla="*/ 3065974 w 3105279"/>
              <a:gd name="connsiteY1365" fmla="*/ 1205401 h 3105260"/>
              <a:gd name="connsiteX1366" fmla="*/ 3067279 w 3105279"/>
              <a:gd name="connsiteY1366" fmla="*/ 1211119 h 3105260"/>
              <a:gd name="connsiteX1367" fmla="*/ 3039022 w 3105279"/>
              <a:gd name="connsiteY1367" fmla="*/ 1217517 h 3105260"/>
              <a:gd name="connsiteX1368" fmla="*/ 67012 w 3105279"/>
              <a:gd name="connsiteY1368" fmla="*/ 1215660 h 3105260"/>
              <a:gd name="connsiteX1369" fmla="*/ 38755 w 3105279"/>
              <a:gd name="connsiteY1369" fmla="*/ 1209244 h 3105260"/>
              <a:gd name="connsiteX1370" fmla="*/ 40060 w 3105279"/>
              <a:gd name="connsiteY1370" fmla="*/ 1203526 h 3105260"/>
              <a:gd name="connsiteX1371" fmla="*/ 68280 w 3105279"/>
              <a:gd name="connsiteY1371" fmla="*/ 1210071 h 3105260"/>
              <a:gd name="connsiteX1372" fmla="*/ 66993 w 3105279"/>
              <a:gd name="connsiteY1372" fmla="*/ 1215660 h 3105260"/>
              <a:gd name="connsiteX1373" fmla="*/ 3034445 w 3105279"/>
              <a:gd name="connsiteY1373" fmla="*/ 1197882 h 3105260"/>
              <a:gd name="connsiteX1374" fmla="*/ 3033084 w 3105279"/>
              <a:gd name="connsiteY1374" fmla="*/ 1192293 h 3105260"/>
              <a:gd name="connsiteX1375" fmla="*/ 3061231 w 3105279"/>
              <a:gd name="connsiteY1375" fmla="*/ 1185417 h 3105260"/>
              <a:gd name="connsiteX1376" fmla="*/ 3062610 w 3105279"/>
              <a:gd name="connsiteY1376" fmla="*/ 1191117 h 3105260"/>
              <a:gd name="connsiteX1377" fmla="*/ 3034445 w 3105279"/>
              <a:gd name="connsiteY1377" fmla="*/ 1197882 h 3105260"/>
              <a:gd name="connsiteX1378" fmla="*/ 71589 w 3105279"/>
              <a:gd name="connsiteY1378" fmla="*/ 1196062 h 3105260"/>
              <a:gd name="connsiteX1379" fmla="*/ 43424 w 3105279"/>
              <a:gd name="connsiteY1379" fmla="*/ 1189278 h 3105260"/>
              <a:gd name="connsiteX1380" fmla="*/ 44803 w 3105279"/>
              <a:gd name="connsiteY1380" fmla="*/ 1183579 h 3105260"/>
              <a:gd name="connsiteX1381" fmla="*/ 72950 w 3105279"/>
              <a:gd name="connsiteY1381" fmla="*/ 1190491 h 3105260"/>
              <a:gd name="connsiteX1382" fmla="*/ 71589 w 3105279"/>
              <a:gd name="connsiteY1382" fmla="*/ 1196062 h 3105260"/>
              <a:gd name="connsiteX1383" fmla="*/ 3029609 w 3105279"/>
              <a:gd name="connsiteY1383" fmla="*/ 1178339 h 3105260"/>
              <a:gd name="connsiteX1384" fmla="*/ 3028175 w 3105279"/>
              <a:gd name="connsiteY1384" fmla="*/ 1172769 h 3105260"/>
              <a:gd name="connsiteX1385" fmla="*/ 3056230 w 3105279"/>
              <a:gd name="connsiteY1385" fmla="*/ 1165507 h 3105260"/>
              <a:gd name="connsiteX1386" fmla="*/ 3057682 w 3105279"/>
              <a:gd name="connsiteY1386" fmla="*/ 1171188 h 3105260"/>
              <a:gd name="connsiteX1387" fmla="*/ 3029591 w 3105279"/>
              <a:gd name="connsiteY1387" fmla="*/ 1178321 h 3105260"/>
              <a:gd name="connsiteX1388" fmla="*/ 76443 w 3105279"/>
              <a:gd name="connsiteY1388" fmla="*/ 1176538 h 3105260"/>
              <a:gd name="connsiteX1389" fmla="*/ 48370 w 3105279"/>
              <a:gd name="connsiteY1389" fmla="*/ 1169368 h 3105260"/>
              <a:gd name="connsiteX1390" fmla="*/ 49822 w 3105279"/>
              <a:gd name="connsiteY1390" fmla="*/ 1163687 h 3105260"/>
              <a:gd name="connsiteX1391" fmla="*/ 77877 w 3105279"/>
              <a:gd name="connsiteY1391" fmla="*/ 1170967 h 3105260"/>
              <a:gd name="connsiteX1392" fmla="*/ 76443 w 3105279"/>
              <a:gd name="connsiteY1392" fmla="*/ 1176538 h 3105260"/>
              <a:gd name="connsiteX1393" fmla="*/ 3024517 w 3105279"/>
              <a:gd name="connsiteY1393" fmla="*/ 1158852 h 3105260"/>
              <a:gd name="connsiteX1394" fmla="*/ 3023009 w 3105279"/>
              <a:gd name="connsiteY1394" fmla="*/ 1153299 h 3105260"/>
              <a:gd name="connsiteX1395" fmla="*/ 3050972 w 3105279"/>
              <a:gd name="connsiteY1395" fmla="*/ 1145688 h 3105260"/>
              <a:gd name="connsiteX1396" fmla="*/ 3052498 w 3105279"/>
              <a:gd name="connsiteY1396" fmla="*/ 1151351 h 3105260"/>
              <a:gd name="connsiteX1397" fmla="*/ 3024517 w 3105279"/>
              <a:gd name="connsiteY1397" fmla="*/ 1158870 h 3105260"/>
              <a:gd name="connsiteX1398" fmla="*/ 81536 w 3105279"/>
              <a:gd name="connsiteY1398" fmla="*/ 1157087 h 3105260"/>
              <a:gd name="connsiteX1399" fmla="*/ 53554 w 3105279"/>
              <a:gd name="connsiteY1399" fmla="*/ 1149549 h 3105260"/>
              <a:gd name="connsiteX1400" fmla="*/ 55080 w 3105279"/>
              <a:gd name="connsiteY1400" fmla="*/ 1143905 h 3105260"/>
              <a:gd name="connsiteX1401" fmla="*/ 83025 w 3105279"/>
              <a:gd name="connsiteY1401" fmla="*/ 1151535 h 3105260"/>
              <a:gd name="connsiteX1402" fmla="*/ 81517 w 3105279"/>
              <a:gd name="connsiteY1402" fmla="*/ 1157087 h 3105260"/>
              <a:gd name="connsiteX1403" fmla="*/ 3019148 w 3105279"/>
              <a:gd name="connsiteY1403" fmla="*/ 1139438 h 3105260"/>
              <a:gd name="connsiteX1404" fmla="*/ 3017567 w 3105279"/>
              <a:gd name="connsiteY1404" fmla="*/ 1133904 h 3105260"/>
              <a:gd name="connsiteX1405" fmla="*/ 3045420 w 3105279"/>
              <a:gd name="connsiteY1405" fmla="*/ 1125906 h 3105260"/>
              <a:gd name="connsiteX1406" fmla="*/ 3047020 w 3105279"/>
              <a:gd name="connsiteY1406" fmla="*/ 1131551 h 3105260"/>
              <a:gd name="connsiteX1407" fmla="*/ 3019148 w 3105279"/>
              <a:gd name="connsiteY1407" fmla="*/ 1139438 h 3105260"/>
              <a:gd name="connsiteX1408" fmla="*/ 86904 w 3105279"/>
              <a:gd name="connsiteY1408" fmla="*/ 1137709 h 3105260"/>
              <a:gd name="connsiteX1409" fmla="*/ 59033 w 3105279"/>
              <a:gd name="connsiteY1409" fmla="*/ 1129804 h 3105260"/>
              <a:gd name="connsiteX1410" fmla="*/ 60651 w 3105279"/>
              <a:gd name="connsiteY1410" fmla="*/ 1124178 h 3105260"/>
              <a:gd name="connsiteX1411" fmla="*/ 88503 w 3105279"/>
              <a:gd name="connsiteY1411" fmla="*/ 1132194 h 3105260"/>
              <a:gd name="connsiteX1412" fmla="*/ 86922 w 3105279"/>
              <a:gd name="connsiteY1412" fmla="*/ 1137709 h 3105260"/>
              <a:gd name="connsiteX1413" fmla="*/ 3013541 w 3105279"/>
              <a:gd name="connsiteY1413" fmla="*/ 1120097 h 3105260"/>
              <a:gd name="connsiteX1414" fmla="*/ 3011887 w 3105279"/>
              <a:gd name="connsiteY1414" fmla="*/ 1114582 h 3105260"/>
              <a:gd name="connsiteX1415" fmla="*/ 3039629 w 3105279"/>
              <a:gd name="connsiteY1415" fmla="*/ 1106235 h 3105260"/>
              <a:gd name="connsiteX1416" fmla="*/ 3041320 w 3105279"/>
              <a:gd name="connsiteY1416" fmla="*/ 1111861 h 3105260"/>
              <a:gd name="connsiteX1417" fmla="*/ 3013541 w 3105279"/>
              <a:gd name="connsiteY1417" fmla="*/ 1120115 h 3105260"/>
              <a:gd name="connsiteX1418" fmla="*/ 92511 w 3105279"/>
              <a:gd name="connsiteY1418" fmla="*/ 1118387 h 3105260"/>
              <a:gd name="connsiteX1419" fmla="*/ 64750 w 3105279"/>
              <a:gd name="connsiteY1419" fmla="*/ 1110114 h 3105260"/>
              <a:gd name="connsiteX1420" fmla="*/ 66423 w 3105279"/>
              <a:gd name="connsiteY1420" fmla="*/ 1104507 h 3105260"/>
              <a:gd name="connsiteX1421" fmla="*/ 94166 w 3105279"/>
              <a:gd name="connsiteY1421" fmla="*/ 1112872 h 3105260"/>
              <a:gd name="connsiteX1422" fmla="*/ 92511 w 3105279"/>
              <a:gd name="connsiteY1422" fmla="*/ 1118387 h 3105260"/>
              <a:gd name="connsiteX1423" fmla="*/ 3007677 w 3105279"/>
              <a:gd name="connsiteY1423" fmla="*/ 1100830 h 3105260"/>
              <a:gd name="connsiteX1424" fmla="*/ 3005949 w 3105279"/>
              <a:gd name="connsiteY1424" fmla="*/ 1095351 h 3105260"/>
              <a:gd name="connsiteX1425" fmla="*/ 3033580 w 3105279"/>
              <a:gd name="connsiteY1425" fmla="*/ 1086619 h 3105260"/>
              <a:gd name="connsiteX1426" fmla="*/ 3035345 w 3105279"/>
              <a:gd name="connsiteY1426" fmla="*/ 1092226 h 3105260"/>
              <a:gd name="connsiteX1427" fmla="*/ 3007677 w 3105279"/>
              <a:gd name="connsiteY1427" fmla="*/ 1100848 h 3105260"/>
              <a:gd name="connsiteX1428" fmla="*/ 98376 w 3105279"/>
              <a:gd name="connsiteY1428" fmla="*/ 1099157 h 3105260"/>
              <a:gd name="connsiteX1429" fmla="*/ 70707 w 3105279"/>
              <a:gd name="connsiteY1429" fmla="*/ 1090535 h 3105260"/>
              <a:gd name="connsiteX1430" fmla="*/ 72454 w 3105279"/>
              <a:gd name="connsiteY1430" fmla="*/ 1084946 h 3105260"/>
              <a:gd name="connsiteX1431" fmla="*/ 100086 w 3105279"/>
              <a:gd name="connsiteY1431" fmla="*/ 1093678 h 3105260"/>
              <a:gd name="connsiteX1432" fmla="*/ 98357 w 3105279"/>
              <a:gd name="connsiteY1432" fmla="*/ 1099157 h 3105260"/>
              <a:gd name="connsiteX1433" fmla="*/ 3001555 w 3105279"/>
              <a:gd name="connsiteY1433" fmla="*/ 1081637 h 3105260"/>
              <a:gd name="connsiteX1434" fmla="*/ 2999753 w 3105279"/>
              <a:gd name="connsiteY1434" fmla="*/ 1076158 h 3105260"/>
              <a:gd name="connsiteX1435" fmla="*/ 3027256 w 3105279"/>
              <a:gd name="connsiteY1435" fmla="*/ 1067058 h 3105260"/>
              <a:gd name="connsiteX1436" fmla="*/ 3029095 w 3105279"/>
              <a:gd name="connsiteY1436" fmla="*/ 1072628 h 3105260"/>
              <a:gd name="connsiteX1437" fmla="*/ 3001555 w 3105279"/>
              <a:gd name="connsiteY1437" fmla="*/ 1081618 h 3105260"/>
              <a:gd name="connsiteX1438" fmla="*/ 104479 w 3105279"/>
              <a:gd name="connsiteY1438" fmla="*/ 1080000 h 3105260"/>
              <a:gd name="connsiteX1439" fmla="*/ 76939 w 3105279"/>
              <a:gd name="connsiteY1439" fmla="*/ 1071010 h 3105260"/>
              <a:gd name="connsiteX1440" fmla="*/ 78759 w 3105279"/>
              <a:gd name="connsiteY1440" fmla="*/ 1065440 h 3105260"/>
              <a:gd name="connsiteX1441" fmla="*/ 106263 w 3105279"/>
              <a:gd name="connsiteY1441" fmla="*/ 1074540 h 3105260"/>
              <a:gd name="connsiteX1442" fmla="*/ 104461 w 3105279"/>
              <a:gd name="connsiteY1442" fmla="*/ 1080000 h 3105260"/>
              <a:gd name="connsiteX1443" fmla="*/ 2995175 w 3105279"/>
              <a:gd name="connsiteY1443" fmla="*/ 1062535 h 3105260"/>
              <a:gd name="connsiteX1444" fmla="*/ 2993300 w 3105279"/>
              <a:gd name="connsiteY1444" fmla="*/ 1057093 h 3105260"/>
              <a:gd name="connsiteX1445" fmla="*/ 3020693 w 3105279"/>
              <a:gd name="connsiteY1445" fmla="*/ 1047643 h 3105260"/>
              <a:gd name="connsiteX1446" fmla="*/ 3022605 w 3105279"/>
              <a:gd name="connsiteY1446" fmla="*/ 1053196 h 3105260"/>
              <a:gd name="connsiteX1447" fmla="*/ 2995175 w 3105279"/>
              <a:gd name="connsiteY1447" fmla="*/ 1062553 h 3105260"/>
              <a:gd name="connsiteX1448" fmla="*/ 110859 w 3105279"/>
              <a:gd name="connsiteY1448" fmla="*/ 1060917 h 3105260"/>
              <a:gd name="connsiteX1449" fmla="*/ 83429 w 3105279"/>
              <a:gd name="connsiteY1449" fmla="*/ 1051559 h 3105260"/>
              <a:gd name="connsiteX1450" fmla="*/ 85323 w 3105279"/>
              <a:gd name="connsiteY1450" fmla="*/ 1046026 h 3105260"/>
              <a:gd name="connsiteX1451" fmla="*/ 112716 w 3105279"/>
              <a:gd name="connsiteY1451" fmla="*/ 1055475 h 3105260"/>
              <a:gd name="connsiteX1452" fmla="*/ 110859 w 3105279"/>
              <a:gd name="connsiteY1452" fmla="*/ 1060917 h 3105260"/>
              <a:gd name="connsiteX1453" fmla="*/ 2988538 w 3105279"/>
              <a:gd name="connsiteY1453" fmla="*/ 1043507 h 3105260"/>
              <a:gd name="connsiteX1454" fmla="*/ 2986590 w 3105279"/>
              <a:gd name="connsiteY1454" fmla="*/ 1038084 h 3105260"/>
              <a:gd name="connsiteX1455" fmla="*/ 3013854 w 3105279"/>
              <a:gd name="connsiteY1455" fmla="*/ 1028266 h 3105260"/>
              <a:gd name="connsiteX1456" fmla="*/ 3015821 w 3105279"/>
              <a:gd name="connsiteY1456" fmla="*/ 1033781 h 3105260"/>
              <a:gd name="connsiteX1457" fmla="*/ 2988520 w 3105279"/>
              <a:gd name="connsiteY1457" fmla="*/ 1043489 h 3105260"/>
              <a:gd name="connsiteX1458" fmla="*/ 117459 w 3105279"/>
              <a:gd name="connsiteY1458" fmla="*/ 1041944 h 3105260"/>
              <a:gd name="connsiteX1459" fmla="*/ 90158 w 3105279"/>
              <a:gd name="connsiteY1459" fmla="*/ 1032237 h 3105260"/>
              <a:gd name="connsiteX1460" fmla="*/ 92125 w 3105279"/>
              <a:gd name="connsiteY1460" fmla="*/ 1026740 h 3105260"/>
              <a:gd name="connsiteX1461" fmla="*/ 119389 w 3105279"/>
              <a:gd name="connsiteY1461" fmla="*/ 1036539 h 3105260"/>
              <a:gd name="connsiteX1462" fmla="*/ 117459 w 3105279"/>
              <a:gd name="connsiteY1462" fmla="*/ 1041963 h 3105260"/>
              <a:gd name="connsiteX1463" fmla="*/ 2981644 w 3105279"/>
              <a:gd name="connsiteY1463" fmla="*/ 1024571 h 3105260"/>
              <a:gd name="connsiteX1464" fmla="*/ 2979622 w 3105279"/>
              <a:gd name="connsiteY1464" fmla="*/ 1019166 h 3105260"/>
              <a:gd name="connsiteX1465" fmla="*/ 3006757 w 3105279"/>
              <a:gd name="connsiteY1465" fmla="*/ 1008999 h 3105260"/>
              <a:gd name="connsiteX1466" fmla="*/ 3008816 w 3105279"/>
              <a:gd name="connsiteY1466" fmla="*/ 1014496 h 3105260"/>
              <a:gd name="connsiteX1467" fmla="*/ 2981644 w 3105279"/>
              <a:gd name="connsiteY1467" fmla="*/ 1024571 h 3105260"/>
              <a:gd name="connsiteX1468" fmla="*/ 124335 w 3105279"/>
              <a:gd name="connsiteY1468" fmla="*/ 1023045 h 3105260"/>
              <a:gd name="connsiteX1469" fmla="*/ 97162 w 3105279"/>
              <a:gd name="connsiteY1469" fmla="*/ 1012989 h 3105260"/>
              <a:gd name="connsiteX1470" fmla="*/ 99203 w 3105279"/>
              <a:gd name="connsiteY1470" fmla="*/ 1007510 h 3105260"/>
              <a:gd name="connsiteX1471" fmla="*/ 126339 w 3105279"/>
              <a:gd name="connsiteY1471" fmla="*/ 1017677 h 3105260"/>
              <a:gd name="connsiteX1472" fmla="*/ 124335 w 3105279"/>
              <a:gd name="connsiteY1472" fmla="*/ 1023063 h 3105260"/>
              <a:gd name="connsiteX1473" fmla="*/ 2974529 w 3105279"/>
              <a:gd name="connsiteY1473" fmla="*/ 1005727 h 3105260"/>
              <a:gd name="connsiteX1474" fmla="*/ 2972452 w 3105279"/>
              <a:gd name="connsiteY1474" fmla="*/ 1000358 h 3105260"/>
              <a:gd name="connsiteX1475" fmla="*/ 2999440 w 3105279"/>
              <a:gd name="connsiteY1475" fmla="*/ 989824 h 3105260"/>
              <a:gd name="connsiteX1476" fmla="*/ 3001573 w 3105279"/>
              <a:gd name="connsiteY1476" fmla="*/ 995303 h 3105260"/>
              <a:gd name="connsiteX1477" fmla="*/ 2974548 w 3105279"/>
              <a:gd name="connsiteY1477" fmla="*/ 1005727 h 3105260"/>
              <a:gd name="connsiteX1478" fmla="*/ 131431 w 3105279"/>
              <a:gd name="connsiteY1478" fmla="*/ 1004238 h 3105260"/>
              <a:gd name="connsiteX1479" fmla="*/ 104406 w 3105279"/>
              <a:gd name="connsiteY1479" fmla="*/ 993814 h 3105260"/>
              <a:gd name="connsiteX1480" fmla="*/ 106520 w 3105279"/>
              <a:gd name="connsiteY1480" fmla="*/ 988372 h 3105260"/>
              <a:gd name="connsiteX1481" fmla="*/ 133527 w 3105279"/>
              <a:gd name="connsiteY1481" fmla="*/ 998888 h 3105260"/>
              <a:gd name="connsiteX1482" fmla="*/ 131450 w 3105279"/>
              <a:gd name="connsiteY1482" fmla="*/ 1004256 h 3105260"/>
              <a:gd name="connsiteX1483" fmla="*/ 2967139 w 3105279"/>
              <a:gd name="connsiteY1483" fmla="*/ 986974 h 3105260"/>
              <a:gd name="connsiteX1484" fmla="*/ 2964988 w 3105279"/>
              <a:gd name="connsiteY1484" fmla="*/ 981643 h 3105260"/>
              <a:gd name="connsiteX1485" fmla="*/ 2991847 w 3105279"/>
              <a:gd name="connsiteY1485" fmla="*/ 970759 h 3105260"/>
              <a:gd name="connsiteX1486" fmla="*/ 2994054 w 3105279"/>
              <a:gd name="connsiteY1486" fmla="*/ 976201 h 3105260"/>
              <a:gd name="connsiteX1487" fmla="*/ 2967157 w 3105279"/>
              <a:gd name="connsiteY1487" fmla="*/ 986974 h 3105260"/>
              <a:gd name="connsiteX1488" fmla="*/ 138785 w 3105279"/>
              <a:gd name="connsiteY1488" fmla="*/ 985522 h 3105260"/>
              <a:gd name="connsiteX1489" fmla="*/ 111888 w 3105279"/>
              <a:gd name="connsiteY1489" fmla="*/ 974749 h 3105260"/>
              <a:gd name="connsiteX1490" fmla="*/ 114076 w 3105279"/>
              <a:gd name="connsiteY1490" fmla="*/ 969325 h 3105260"/>
              <a:gd name="connsiteX1491" fmla="*/ 140936 w 3105279"/>
              <a:gd name="connsiteY1491" fmla="*/ 980209 h 3105260"/>
              <a:gd name="connsiteX1492" fmla="*/ 138785 w 3105279"/>
              <a:gd name="connsiteY1492" fmla="*/ 985540 h 3105260"/>
              <a:gd name="connsiteX1493" fmla="*/ 2959509 w 3105279"/>
              <a:gd name="connsiteY1493" fmla="*/ 968314 h 3105260"/>
              <a:gd name="connsiteX1494" fmla="*/ 2957284 w 3105279"/>
              <a:gd name="connsiteY1494" fmla="*/ 963001 h 3105260"/>
              <a:gd name="connsiteX1495" fmla="*/ 2983979 w 3105279"/>
              <a:gd name="connsiteY1495" fmla="*/ 951750 h 3105260"/>
              <a:gd name="connsiteX1496" fmla="*/ 2986240 w 3105279"/>
              <a:gd name="connsiteY1496" fmla="*/ 957173 h 3105260"/>
              <a:gd name="connsiteX1497" fmla="*/ 2959491 w 3105279"/>
              <a:gd name="connsiteY1497" fmla="*/ 968296 h 3105260"/>
              <a:gd name="connsiteX1498" fmla="*/ 146396 w 3105279"/>
              <a:gd name="connsiteY1498" fmla="*/ 966917 h 3105260"/>
              <a:gd name="connsiteX1499" fmla="*/ 119647 w 3105279"/>
              <a:gd name="connsiteY1499" fmla="*/ 955794 h 3105260"/>
              <a:gd name="connsiteX1500" fmla="*/ 121908 w 3105279"/>
              <a:gd name="connsiteY1500" fmla="*/ 950389 h 3105260"/>
              <a:gd name="connsiteX1501" fmla="*/ 148621 w 3105279"/>
              <a:gd name="connsiteY1501" fmla="*/ 961604 h 3105260"/>
              <a:gd name="connsiteX1502" fmla="*/ 146396 w 3105279"/>
              <a:gd name="connsiteY1502" fmla="*/ 966899 h 3105260"/>
              <a:gd name="connsiteX1503" fmla="*/ 2951640 w 3105279"/>
              <a:gd name="connsiteY1503" fmla="*/ 949764 h 3105260"/>
              <a:gd name="connsiteX1504" fmla="*/ 2949342 w 3105279"/>
              <a:gd name="connsiteY1504" fmla="*/ 944469 h 3105260"/>
              <a:gd name="connsiteX1505" fmla="*/ 2975908 w 3105279"/>
              <a:gd name="connsiteY1505" fmla="*/ 932887 h 3105260"/>
              <a:gd name="connsiteX1506" fmla="*/ 2978243 w 3105279"/>
              <a:gd name="connsiteY1506" fmla="*/ 938274 h 3105260"/>
              <a:gd name="connsiteX1507" fmla="*/ 2951640 w 3105279"/>
              <a:gd name="connsiteY1507" fmla="*/ 949764 h 3105260"/>
              <a:gd name="connsiteX1508" fmla="*/ 154228 w 3105279"/>
              <a:gd name="connsiteY1508" fmla="*/ 948422 h 3105260"/>
              <a:gd name="connsiteX1509" fmla="*/ 127626 w 3105279"/>
              <a:gd name="connsiteY1509" fmla="*/ 936950 h 3105260"/>
              <a:gd name="connsiteX1510" fmla="*/ 129960 w 3105279"/>
              <a:gd name="connsiteY1510" fmla="*/ 931582 h 3105260"/>
              <a:gd name="connsiteX1511" fmla="*/ 156526 w 3105279"/>
              <a:gd name="connsiteY1511" fmla="*/ 943164 h 3105260"/>
              <a:gd name="connsiteX1512" fmla="*/ 154246 w 3105279"/>
              <a:gd name="connsiteY1512" fmla="*/ 948440 h 3105260"/>
              <a:gd name="connsiteX1513" fmla="*/ 2943514 w 3105279"/>
              <a:gd name="connsiteY1513" fmla="*/ 931306 h 3105260"/>
              <a:gd name="connsiteX1514" fmla="*/ 2941161 w 3105279"/>
              <a:gd name="connsiteY1514" fmla="*/ 926066 h 3105260"/>
              <a:gd name="connsiteX1515" fmla="*/ 2967562 w 3105279"/>
              <a:gd name="connsiteY1515" fmla="*/ 914116 h 3105260"/>
              <a:gd name="connsiteX1516" fmla="*/ 2969970 w 3105279"/>
              <a:gd name="connsiteY1516" fmla="*/ 919485 h 3105260"/>
              <a:gd name="connsiteX1517" fmla="*/ 2943514 w 3105279"/>
              <a:gd name="connsiteY1517" fmla="*/ 931306 h 3105260"/>
              <a:gd name="connsiteX1518" fmla="*/ 162317 w 3105279"/>
              <a:gd name="connsiteY1518" fmla="*/ 930019 h 3105260"/>
              <a:gd name="connsiteX1519" fmla="*/ 135862 w 3105279"/>
              <a:gd name="connsiteY1519" fmla="*/ 918198 h 3105260"/>
              <a:gd name="connsiteX1520" fmla="*/ 138252 w 3105279"/>
              <a:gd name="connsiteY1520" fmla="*/ 912866 h 3105260"/>
              <a:gd name="connsiteX1521" fmla="*/ 164652 w 3105279"/>
              <a:gd name="connsiteY1521" fmla="*/ 924798 h 3105260"/>
              <a:gd name="connsiteX1522" fmla="*/ 162299 w 3105279"/>
              <a:gd name="connsiteY1522" fmla="*/ 930038 h 3105260"/>
              <a:gd name="connsiteX1523" fmla="*/ 2935168 w 3105279"/>
              <a:gd name="connsiteY1523" fmla="*/ 912977 h 3105260"/>
              <a:gd name="connsiteX1524" fmla="*/ 2932741 w 3105279"/>
              <a:gd name="connsiteY1524" fmla="*/ 907755 h 3105260"/>
              <a:gd name="connsiteX1525" fmla="*/ 2958976 w 3105279"/>
              <a:gd name="connsiteY1525" fmla="*/ 895475 h 3105260"/>
              <a:gd name="connsiteX1526" fmla="*/ 2961458 w 3105279"/>
              <a:gd name="connsiteY1526" fmla="*/ 900788 h 3105260"/>
              <a:gd name="connsiteX1527" fmla="*/ 2935168 w 3105279"/>
              <a:gd name="connsiteY1527" fmla="*/ 912977 h 3105260"/>
              <a:gd name="connsiteX1528" fmla="*/ 170627 w 3105279"/>
              <a:gd name="connsiteY1528" fmla="*/ 911727 h 3105260"/>
              <a:gd name="connsiteX1529" fmla="*/ 144337 w 3105279"/>
              <a:gd name="connsiteY1529" fmla="*/ 899556 h 3105260"/>
              <a:gd name="connsiteX1530" fmla="*/ 146801 w 3105279"/>
              <a:gd name="connsiteY1530" fmla="*/ 894243 h 3105260"/>
              <a:gd name="connsiteX1531" fmla="*/ 173054 w 3105279"/>
              <a:gd name="connsiteY1531" fmla="*/ 906524 h 3105260"/>
              <a:gd name="connsiteX1532" fmla="*/ 170627 w 3105279"/>
              <a:gd name="connsiteY1532" fmla="*/ 911727 h 3105260"/>
              <a:gd name="connsiteX1533" fmla="*/ 2926582 w 3105279"/>
              <a:gd name="connsiteY1533" fmla="*/ 894739 h 3105260"/>
              <a:gd name="connsiteX1534" fmla="*/ 2924082 w 3105279"/>
              <a:gd name="connsiteY1534" fmla="*/ 889555 h 3105260"/>
              <a:gd name="connsiteX1535" fmla="*/ 2950170 w 3105279"/>
              <a:gd name="connsiteY1535" fmla="*/ 876943 h 3105260"/>
              <a:gd name="connsiteX1536" fmla="*/ 2952725 w 3105279"/>
              <a:gd name="connsiteY1536" fmla="*/ 882238 h 3105260"/>
              <a:gd name="connsiteX1537" fmla="*/ 2926601 w 3105279"/>
              <a:gd name="connsiteY1537" fmla="*/ 894758 h 3105260"/>
              <a:gd name="connsiteX1538" fmla="*/ 179194 w 3105279"/>
              <a:gd name="connsiteY1538" fmla="*/ 893544 h 3105260"/>
              <a:gd name="connsiteX1539" fmla="*/ 153070 w 3105279"/>
              <a:gd name="connsiteY1539" fmla="*/ 881024 h 3105260"/>
              <a:gd name="connsiteX1540" fmla="*/ 155607 w 3105279"/>
              <a:gd name="connsiteY1540" fmla="*/ 875748 h 3105260"/>
              <a:gd name="connsiteX1541" fmla="*/ 181695 w 3105279"/>
              <a:gd name="connsiteY1541" fmla="*/ 888360 h 3105260"/>
              <a:gd name="connsiteX1542" fmla="*/ 179213 w 3105279"/>
              <a:gd name="connsiteY1542" fmla="*/ 893526 h 3105260"/>
              <a:gd name="connsiteX1543" fmla="*/ 2917739 w 3105279"/>
              <a:gd name="connsiteY1543" fmla="*/ 876612 h 3105260"/>
              <a:gd name="connsiteX1544" fmla="*/ 2915147 w 3105279"/>
              <a:gd name="connsiteY1544" fmla="*/ 871409 h 3105260"/>
              <a:gd name="connsiteX1545" fmla="*/ 2941088 w 3105279"/>
              <a:gd name="connsiteY1545" fmla="*/ 858503 h 3105260"/>
              <a:gd name="connsiteX1546" fmla="*/ 2943680 w 3105279"/>
              <a:gd name="connsiteY1546" fmla="*/ 863724 h 3105260"/>
              <a:gd name="connsiteX1547" fmla="*/ 2917721 w 3105279"/>
              <a:gd name="connsiteY1547" fmla="*/ 876612 h 3105260"/>
              <a:gd name="connsiteX1548" fmla="*/ 188000 w 3105279"/>
              <a:gd name="connsiteY1548" fmla="*/ 875491 h 3105260"/>
              <a:gd name="connsiteX1549" fmla="*/ 162041 w 3105279"/>
              <a:gd name="connsiteY1549" fmla="*/ 862640 h 3105260"/>
              <a:gd name="connsiteX1550" fmla="*/ 164652 w 3105279"/>
              <a:gd name="connsiteY1550" fmla="*/ 857400 h 3105260"/>
              <a:gd name="connsiteX1551" fmla="*/ 190574 w 3105279"/>
              <a:gd name="connsiteY1551" fmla="*/ 870361 h 3105260"/>
              <a:gd name="connsiteX1552" fmla="*/ 188019 w 3105279"/>
              <a:gd name="connsiteY1552" fmla="*/ 875509 h 3105260"/>
              <a:gd name="connsiteX1553" fmla="*/ 2908694 w 3105279"/>
              <a:gd name="connsiteY1553" fmla="*/ 858632 h 3105260"/>
              <a:gd name="connsiteX1554" fmla="*/ 2906065 w 3105279"/>
              <a:gd name="connsiteY1554" fmla="*/ 853521 h 3105260"/>
              <a:gd name="connsiteX1555" fmla="*/ 2931803 w 3105279"/>
              <a:gd name="connsiteY1555" fmla="*/ 840229 h 3105260"/>
              <a:gd name="connsiteX1556" fmla="*/ 2934469 w 3105279"/>
              <a:gd name="connsiteY1556" fmla="*/ 845432 h 3105260"/>
              <a:gd name="connsiteX1557" fmla="*/ 2908676 w 3105279"/>
              <a:gd name="connsiteY1557" fmla="*/ 858632 h 3105260"/>
              <a:gd name="connsiteX1558" fmla="*/ 197027 w 3105279"/>
              <a:gd name="connsiteY1558" fmla="*/ 857547 h 3105260"/>
              <a:gd name="connsiteX1559" fmla="*/ 171234 w 3105279"/>
              <a:gd name="connsiteY1559" fmla="*/ 844347 h 3105260"/>
              <a:gd name="connsiteX1560" fmla="*/ 173900 w 3105279"/>
              <a:gd name="connsiteY1560" fmla="*/ 839144 h 3105260"/>
              <a:gd name="connsiteX1561" fmla="*/ 199638 w 3105279"/>
              <a:gd name="connsiteY1561" fmla="*/ 852436 h 3105260"/>
              <a:gd name="connsiteX1562" fmla="*/ 197009 w 3105279"/>
              <a:gd name="connsiteY1562" fmla="*/ 857547 h 3105260"/>
              <a:gd name="connsiteX1563" fmla="*/ 2899428 w 3105279"/>
              <a:gd name="connsiteY1563" fmla="*/ 840799 h 3105260"/>
              <a:gd name="connsiteX1564" fmla="*/ 2896744 w 3105279"/>
              <a:gd name="connsiteY1564" fmla="*/ 835743 h 3105260"/>
              <a:gd name="connsiteX1565" fmla="*/ 2922317 w 3105279"/>
              <a:gd name="connsiteY1565" fmla="*/ 822120 h 3105260"/>
              <a:gd name="connsiteX1566" fmla="*/ 2925056 w 3105279"/>
              <a:gd name="connsiteY1566" fmla="*/ 827286 h 3105260"/>
              <a:gd name="connsiteX1567" fmla="*/ 2899428 w 3105279"/>
              <a:gd name="connsiteY1567" fmla="*/ 840799 h 3105260"/>
              <a:gd name="connsiteX1568" fmla="*/ 206293 w 3105279"/>
              <a:gd name="connsiteY1568" fmla="*/ 839714 h 3105260"/>
              <a:gd name="connsiteX1569" fmla="*/ 180683 w 3105279"/>
              <a:gd name="connsiteY1569" fmla="*/ 826183 h 3105260"/>
              <a:gd name="connsiteX1570" fmla="*/ 183423 w 3105279"/>
              <a:gd name="connsiteY1570" fmla="*/ 821017 h 3105260"/>
              <a:gd name="connsiteX1571" fmla="*/ 208996 w 3105279"/>
              <a:gd name="connsiteY1571" fmla="*/ 834658 h 3105260"/>
              <a:gd name="connsiteX1572" fmla="*/ 206312 w 3105279"/>
              <a:gd name="connsiteY1572" fmla="*/ 839733 h 3105260"/>
              <a:gd name="connsiteX1573" fmla="*/ 2889960 w 3105279"/>
              <a:gd name="connsiteY1573" fmla="*/ 823131 h 3105260"/>
              <a:gd name="connsiteX1574" fmla="*/ 2887203 w 3105279"/>
              <a:gd name="connsiteY1574" fmla="*/ 818094 h 3105260"/>
              <a:gd name="connsiteX1575" fmla="*/ 2912592 w 3105279"/>
              <a:gd name="connsiteY1575" fmla="*/ 804140 h 3105260"/>
              <a:gd name="connsiteX1576" fmla="*/ 2915386 w 3105279"/>
              <a:gd name="connsiteY1576" fmla="*/ 809251 h 3105260"/>
              <a:gd name="connsiteX1577" fmla="*/ 2889942 w 3105279"/>
              <a:gd name="connsiteY1577" fmla="*/ 823113 h 3105260"/>
              <a:gd name="connsiteX1578" fmla="*/ 215798 w 3105279"/>
              <a:gd name="connsiteY1578" fmla="*/ 822028 h 3105260"/>
              <a:gd name="connsiteX1579" fmla="*/ 190354 w 3105279"/>
              <a:gd name="connsiteY1579" fmla="*/ 808148 h 3105260"/>
              <a:gd name="connsiteX1580" fmla="*/ 193167 w 3105279"/>
              <a:gd name="connsiteY1580" fmla="*/ 803019 h 3105260"/>
              <a:gd name="connsiteX1581" fmla="*/ 218556 w 3105279"/>
              <a:gd name="connsiteY1581" fmla="*/ 816991 h 3105260"/>
              <a:gd name="connsiteX1582" fmla="*/ 215798 w 3105279"/>
              <a:gd name="connsiteY1582" fmla="*/ 822028 h 3105260"/>
              <a:gd name="connsiteX1583" fmla="*/ 2880235 w 3105279"/>
              <a:gd name="connsiteY1583" fmla="*/ 805556 h 3105260"/>
              <a:gd name="connsiteX1584" fmla="*/ 2877404 w 3105279"/>
              <a:gd name="connsiteY1584" fmla="*/ 800537 h 3105260"/>
              <a:gd name="connsiteX1585" fmla="*/ 2902609 w 3105279"/>
              <a:gd name="connsiteY1585" fmla="*/ 786252 h 3105260"/>
              <a:gd name="connsiteX1586" fmla="*/ 2905477 w 3105279"/>
              <a:gd name="connsiteY1586" fmla="*/ 791344 h 3105260"/>
              <a:gd name="connsiteX1587" fmla="*/ 2880217 w 3105279"/>
              <a:gd name="connsiteY1587" fmla="*/ 805537 h 3105260"/>
              <a:gd name="connsiteX1588" fmla="*/ 225523 w 3105279"/>
              <a:gd name="connsiteY1588" fmla="*/ 804453 h 3105260"/>
              <a:gd name="connsiteX1589" fmla="*/ 200263 w 3105279"/>
              <a:gd name="connsiteY1589" fmla="*/ 790241 h 3105260"/>
              <a:gd name="connsiteX1590" fmla="*/ 203131 w 3105279"/>
              <a:gd name="connsiteY1590" fmla="*/ 785149 h 3105260"/>
              <a:gd name="connsiteX1591" fmla="*/ 228336 w 3105279"/>
              <a:gd name="connsiteY1591" fmla="*/ 799452 h 3105260"/>
              <a:gd name="connsiteX1592" fmla="*/ 225505 w 3105279"/>
              <a:gd name="connsiteY1592" fmla="*/ 804453 h 3105260"/>
              <a:gd name="connsiteX1593" fmla="*/ 2870270 w 3105279"/>
              <a:gd name="connsiteY1593" fmla="*/ 788090 h 3105260"/>
              <a:gd name="connsiteX1594" fmla="*/ 2867384 w 3105279"/>
              <a:gd name="connsiteY1594" fmla="*/ 783127 h 3105260"/>
              <a:gd name="connsiteX1595" fmla="*/ 2892405 w 3105279"/>
              <a:gd name="connsiteY1595" fmla="*/ 768511 h 3105260"/>
              <a:gd name="connsiteX1596" fmla="*/ 2895347 w 3105279"/>
              <a:gd name="connsiteY1596" fmla="*/ 773567 h 3105260"/>
              <a:gd name="connsiteX1597" fmla="*/ 2870270 w 3105279"/>
              <a:gd name="connsiteY1597" fmla="*/ 788090 h 3105260"/>
              <a:gd name="connsiteX1598" fmla="*/ 235488 w 3105279"/>
              <a:gd name="connsiteY1598" fmla="*/ 787006 h 3105260"/>
              <a:gd name="connsiteX1599" fmla="*/ 210430 w 3105279"/>
              <a:gd name="connsiteY1599" fmla="*/ 772464 h 3105260"/>
              <a:gd name="connsiteX1600" fmla="*/ 213371 w 3105279"/>
              <a:gd name="connsiteY1600" fmla="*/ 767408 h 3105260"/>
              <a:gd name="connsiteX1601" fmla="*/ 238374 w 3105279"/>
              <a:gd name="connsiteY1601" fmla="*/ 782042 h 3105260"/>
              <a:gd name="connsiteX1602" fmla="*/ 235488 w 3105279"/>
              <a:gd name="connsiteY1602" fmla="*/ 787006 h 3105260"/>
              <a:gd name="connsiteX1603" fmla="*/ 2860067 w 3105279"/>
              <a:gd name="connsiteY1603" fmla="*/ 770754 h 3105260"/>
              <a:gd name="connsiteX1604" fmla="*/ 2857107 w 3105279"/>
              <a:gd name="connsiteY1604" fmla="*/ 765827 h 3105260"/>
              <a:gd name="connsiteX1605" fmla="*/ 2881945 w 3105279"/>
              <a:gd name="connsiteY1605" fmla="*/ 750898 h 3105260"/>
              <a:gd name="connsiteX1606" fmla="*/ 2884941 w 3105279"/>
              <a:gd name="connsiteY1606" fmla="*/ 755917 h 3105260"/>
              <a:gd name="connsiteX1607" fmla="*/ 2860067 w 3105279"/>
              <a:gd name="connsiteY1607" fmla="*/ 770772 h 3105260"/>
              <a:gd name="connsiteX1608" fmla="*/ 245673 w 3105279"/>
              <a:gd name="connsiteY1608" fmla="*/ 769706 h 3105260"/>
              <a:gd name="connsiteX1609" fmla="*/ 220798 w 3105279"/>
              <a:gd name="connsiteY1609" fmla="*/ 754833 h 3105260"/>
              <a:gd name="connsiteX1610" fmla="*/ 223814 w 3105279"/>
              <a:gd name="connsiteY1610" fmla="*/ 749814 h 3105260"/>
              <a:gd name="connsiteX1611" fmla="*/ 248614 w 3105279"/>
              <a:gd name="connsiteY1611" fmla="*/ 764779 h 3105260"/>
              <a:gd name="connsiteX1612" fmla="*/ 245673 w 3105279"/>
              <a:gd name="connsiteY1612" fmla="*/ 769687 h 3105260"/>
              <a:gd name="connsiteX1613" fmla="*/ 2849661 w 3105279"/>
              <a:gd name="connsiteY1613" fmla="*/ 753546 h 3105260"/>
              <a:gd name="connsiteX1614" fmla="*/ 2846646 w 3105279"/>
              <a:gd name="connsiteY1614" fmla="*/ 748674 h 3105260"/>
              <a:gd name="connsiteX1615" fmla="*/ 2871263 w 3105279"/>
              <a:gd name="connsiteY1615" fmla="*/ 733396 h 3105260"/>
              <a:gd name="connsiteX1616" fmla="*/ 2874352 w 3105279"/>
              <a:gd name="connsiteY1616" fmla="*/ 738397 h 3105260"/>
              <a:gd name="connsiteX1617" fmla="*/ 2849661 w 3105279"/>
              <a:gd name="connsiteY1617" fmla="*/ 753546 h 3105260"/>
              <a:gd name="connsiteX1618" fmla="*/ 256097 w 3105279"/>
              <a:gd name="connsiteY1618" fmla="*/ 752553 h 3105260"/>
              <a:gd name="connsiteX1619" fmla="*/ 231425 w 3105279"/>
              <a:gd name="connsiteY1619" fmla="*/ 737349 h 3105260"/>
              <a:gd name="connsiteX1620" fmla="*/ 234495 w 3105279"/>
              <a:gd name="connsiteY1620" fmla="*/ 732385 h 3105260"/>
              <a:gd name="connsiteX1621" fmla="*/ 259112 w 3105279"/>
              <a:gd name="connsiteY1621" fmla="*/ 747663 h 3105260"/>
              <a:gd name="connsiteX1622" fmla="*/ 256097 w 3105279"/>
              <a:gd name="connsiteY1622" fmla="*/ 752553 h 3105260"/>
              <a:gd name="connsiteX1623" fmla="*/ 2839017 w 3105279"/>
              <a:gd name="connsiteY1623" fmla="*/ 736485 h 3105260"/>
              <a:gd name="connsiteX1624" fmla="*/ 2835928 w 3105279"/>
              <a:gd name="connsiteY1624" fmla="*/ 731631 h 3105260"/>
              <a:gd name="connsiteX1625" fmla="*/ 2860361 w 3105279"/>
              <a:gd name="connsiteY1625" fmla="*/ 716041 h 3105260"/>
              <a:gd name="connsiteX1626" fmla="*/ 2863505 w 3105279"/>
              <a:gd name="connsiteY1626" fmla="*/ 720987 h 3105260"/>
              <a:gd name="connsiteX1627" fmla="*/ 2839017 w 3105279"/>
              <a:gd name="connsiteY1627" fmla="*/ 736485 h 3105260"/>
              <a:gd name="connsiteX1628" fmla="*/ 266742 w 3105279"/>
              <a:gd name="connsiteY1628" fmla="*/ 735511 h 3105260"/>
              <a:gd name="connsiteX1629" fmla="*/ 242272 w 3105279"/>
              <a:gd name="connsiteY1629" fmla="*/ 719994 h 3105260"/>
              <a:gd name="connsiteX1630" fmla="*/ 245415 w 3105279"/>
              <a:gd name="connsiteY1630" fmla="*/ 715067 h 3105260"/>
              <a:gd name="connsiteX1631" fmla="*/ 269830 w 3105279"/>
              <a:gd name="connsiteY1631" fmla="*/ 730675 h 3105260"/>
              <a:gd name="connsiteX1632" fmla="*/ 266742 w 3105279"/>
              <a:gd name="connsiteY1632" fmla="*/ 735511 h 3105260"/>
              <a:gd name="connsiteX1633" fmla="*/ 2828151 w 3105279"/>
              <a:gd name="connsiteY1633" fmla="*/ 719553 h 3105260"/>
              <a:gd name="connsiteX1634" fmla="*/ 2825008 w 3105279"/>
              <a:gd name="connsiteY1634" fmla="*/ 714736 h 3105260"/>
              <a:gd name="connsiteX1635" fmla="*/ 2849220 w 3105279"/>
              <a:gd name="connsiteY1635" fmla="*/ 698833 h 3105260"/>
              <a:gd name="connsiteX1636" fmla="*/ 2852419 w 3105279"/>
              <a:gd name="connsiteY1636" fmla="*/ 703742 h 3105260"/>
              <a:gd name="connsiteX1637" fmla="*/ 2828133 w 3105279"/>
              <a:gd name="connsiteY1637" fmla="*/ 719553 h 3105260"/>
              <a:gd name="connsiteX1638" fmla="*/ 277588 w 3105279"/>
              <a:gd name="connsiteY1638" fmla="*/ 718634 h 3105260"/>
              <a:gd name="connsiteX1639" fmla="*/ 253321 w 3105279"/>
              <a:gd name="connsiteY1639" fmla="*/ 702786 h 3105260"/>
              <a:gd name="connsiteX1640" fmla="*/ 256520 w 3105279"/>
              <a:gd name="connsiteY1640" fmla="*/ 697896 h 3105260"/>
              <a:gd name="connsiteX1641" fmla="*/ 280714 w 3105279"/>
              <a:gd name="connsiteY1641" fmla="*/ 713835 h 3105260"/>
              <a:gd name="connsiteX1642" fmla="*/ 277570 w 3105279"/>
              <a:gd name="connsiteY1642" fmla="*/ 718634 h 3105260"/>
              <a:gd name="connsiteX1643" fmla="*/ 2817066 w 3105279"/>
              <a:gd name="connsiteY1643" fmla="*/ 702786 h 3105260"/>
              <a:gd name="connsiteX1644" fmla="*/ 2813848 w 3105279"/>
              <a:gd name="connsiteY1644" fmla="*/ 698025 h 3105260"/>
              <a:gd name="connsiteX1645" fmla="*/ 2837858 w 3105279"/>
              <a:gd name="connsiteY1645" fmla="*/ 681809 h 3105260"/>
              <a:gd name="connsiteX1646" fmla="*/ 2841131 w 3105279"/>
              <a:gd name="connsiteY1646" fmla="*/ 686663 h 3105260"/>
              <a:gd name="connsiteX1647" fmla="*/ 2817066 w 3105279"/>
              <a:gd name="connsiteY1647" fmla="*/ 702786 h 3105260"/>
              <a:gd name="connsiteX1648" fmla="*/ 288674 w 3105279"/>
              <a:gd name="connsiteY1648" fmla="*/ 701904 h 3105260"/>
              <a:gd name="connsiteX1649" fmla="*/ 264627 w 3105279"/>
              <a:gd name="connsiteY1649" fmla="*/ 685744 h 3105260"/>
              <a:gd name="connsiteX1650" fmla="*/ 267900 w 3105279"/>
              <a:gd name="connsiteY1650" fmla="*/ 680908 h 3105260"/>
              <a:gd name="connsiteX1651" fmla="*/ 291892 w 3105279"/>
              <a:gd name="connsiteY1651" fmla="*/ 697142 h 3105260"/>
              <a:gd name="connsiteX1652" fmla="*/ 288693 w 3105279"/>
              <a:gd name="connsiteY1652" fmla="*/ 701904 h 3105260"/>
              <a:gd name="connsiteX1653" fmla="*/ 2805759 w 3105279"/>
              <a:gd name="connsiteY1653" fmla="*/ 686148 h 3105260"/>
              <a:gd name="connsiteX1654" fmla="*/ 2802487 w 3105279"/>
              <a:gd name="connsiteY1654" fmla="*/ 681423 h 3105260"/>
              <a:gd name="connsiteX1655" fmla="*/ 2826276 w 3105279"/>
              <a:gd name="connsiteY1655" fmla="*/ 664877 h 3105260"/>
              <a:gd name="connsiteX1656" fmla="*/ 2829604 w 3105279"/>
              <a:gd name="connsiteY1656" fmla="*/ 669694 h 3105260"/>
              <a:gd name="connsiteX1657" fmla="*/ 2805759 w 3105279"/>
              <a:gd name="connsiteY1657" fmla="*/ 686148 h 3105260"/>
              <a:gd name="connsiteX1658" fmla="*/ 299981 w 3105279"/>
              <a:gd name="connsiteY1658" fmla="*/ 685321 h 3105260"/>
              <a:gd name="connsiteX1659" fmla="*/ 276136 w 3105279"/>
              <a:gd name="connsiteY1659" fmla="*/ 668848 h 3105260"/>
              <a:gd name="connsiteX1660" fmla="*/ 279464 w 3105279"/>
              <a:gd name="connsiteY1660" fmla="*/ 664050 h 3105260"/>
              <a:gd name="connsiteX1661" fmla="*/ 303235 w 3105279"/>
              <a:gd name="connsiteY1661" fmla="*/ 680614 h 3105260"/>
              <a:gd name="connsiteX1662" fmla="*/ 299962 w 3105279"/>
              <a:gd name="connsiteY1662" fmla="*/ 685321 h 3105260"/>
              <a:gd name="connsiteX1663" fmla="*/ 2794232 w 3105279"/>
              <a:gd name="connsiteY1663" fmla="*/ 669676 h 3105260"/>
              <a:gd name="connsiteX1664" fmla="*/ 2790904 w 3105279"/>
              <a:gd name="connsiteY1664" fmla="*/ 665006 h 3105260"/>
              <a:gd name="connsiteX1665" fmla="*/ 2814473 w 3105279"/>
              <a:gd name="connsiteY1665" fmla="*/ 648147 h 3105260"/>
              <a:gd name="connsiteX1666" fmla="*/ 2817874 w 3105279"/>
              <a:gd name="connsiteY1666" fmla="*/ 652927 h 3105260"/>
              <a:gd name="connsiteX1667" fmla="*/ 2794232 w 3105279"/>
              <a:gd name="connsiteY1667" fmla="*/ 669676 h 3105260"/>
              <a:gd name="connsiteX1668" fmla="*/ 311490 w 3105279"/>
              <a:gd name="connsiteY1668" fmla="*/ 668885 h 3105260"/>
              <a:gd name="connsiteX1669" fmla="*/ 287865 w 3105279"/>
              <a:gd name="connsiteY1669" fmla="*/ 652100 h 3105260"/>
              <a:gd name="connsiteX1670" fmla="*/ 291248 w 3105279"/>
              <a:gd name="connsiteY1670" fmla="*/ 647338 h 3105260"/>
              <a:gd name="connsiteX1671" fmla="*/ 314799 w 3105279"/>
              <a:gd name="connsiteY1671" fmla="*/ 664215 h 3105260"/>
              <a:gd name="connsiteX1672" fmla="*/ 311471 w 3105279"/>
              <a:gd name="connsiteY1672" fmla="*/ 668885 h 3105260"/>
              <a:gd name="connsiteX1673" fmla="*/ 2782503 w 3105279"/>
              <a:gd name="connsiteY1673" fmla="*/ 653350 h 3105260"/>
              <a:gd name="connsiteX1674" fmla="*/ 2779101 w 3105279"/>
              <a:gd name="connsiteY1674" fmla="*/ 648717 h 3105260"/>
              <a:gd name="connsiteX1675" fmla="*/ 2802450 w 3105279"/>
              <a:gd name="connsiteY1675" fmla="*/ 631564 h 3105260"/>
              <a:gd name="connsiteX1676" fmla="*/ 2805906 w 3105279"/>
              <a:gd name="connsiteY1676" fmla="*/ 636289 h 3105260"/>
              <a:gd name="connsiteX1677" fmla="*/ 2782503 w 3105279"/>
              <a:gd name="connsiteY1677" fmla="*/ 653368 h 3105260"/>
              <a:gd name="connsiteX1678" fmla="*/ 323237 w 3105279"/>
              <a:gd name="connsiteY1678" fmla="*/ 652615 h 3105260"/>
              <a:gd name="connsiteX1679" fmla="*/ 299852 w 3105279"/>
              <a:gd name="connsiteY1679" fmla="*/ 635517 h 3105260"/>
              <a:gd name="connsiteX1680" fmla="*/ 303308 w 3105279"/>
              <a:gd name="connsiteY1680" fmla="*/ 630811 h 3105260"/>
              <a:gd name="connsiteX1681" fmla="*/ 326638 w 3105279"/>
              <a:gd name="connsiteY1681" fmla="*/ 647982 h 3105260"/>
              <a:gd name="connsiteX1682" fmla="*/ 323237 w 3105279"/>
              <a:gd name="connsiteY1682" fmla="*/ 652615 h 3105260"/>
              <a:gd name="connsiteX1683" fmla="*/ 2770534 w 3105279"/>
              <a:gd name="connsiteY1683" fmla="*/ 637190 h 3105260"/>
              <a:gd name="connsiteX1684" fmla="*/ 2767078 w 3105279"/>
              <a:gd name="connsiteY1684" fmla="*/ 632594 h 3105260"/>
              <a:gd name="connsiteX1685" fmla="*/ 2790187 w 3105279"/>
              <a:gd name="connsiteY1685" fmla="*/ 615129 h 3105260"/>
              <a:gd name="connsiteX1686" fmla="*/ 2793699 w 3105279"/>
              <a:gd name="connsiteY1686" fmla="*/ 619798 h 3105260"/>
              <a:gd name="connsiteX1687" fmla="*/ 2770516 w 3105279"/>
              <a:gd name="connsiteY1687" fmla="*/ 637190 h 3105260"/>
              <a:gd name="connsiteX1688" fmla="*/ 335169 w 3105279"/>
              <a:gd name="connsiteY1688" fmla="*/ 636473 h 3105260"/>
              <a:gd name="connsiteX1689" fmla="*/ 312004 w 3105279"/>
              <a:gd name="connsiteY1689" fmla="*/ 619081 h 3105260"/>
              <a:gd name="connsiteX1690" fmla="*/ 315516 w 3105279"/>
              <a:gd name="connsiteY1690" fmla="*/ 614412 h 3105260"/>
              <a:gd name="connsiteX1691" fmla="*/ 338607 w 3105279"/>
              <a:gd name="connsiteY1691" fmla="*/ 631895 h 3105260"/>
              <a:gd name="connsiteX1692" fmla="*/ 335150 w 3105279"/>
              <a:gd name="connsiteY1692" fmla="*/ 636473 h 3105260"/>
              <a:gd name="connsiteX1693" fmla="*/ 2758382 w 3105279"/>
              <a:gd name="connsiteY1693" fmla="*/ 621196 h 3105260"/>
              <a:gd name="connsiteX1694" fmla="*/ 2754852 w 3105279"/>
              <a:gd name="connsiteY1694" fmla="*/ 616636 h 3105260"/>
              <a:gd name="connsiteX1695" fmla="*/ 2777741 w 3105279"/>
              <a:gd name="connsiteY1695" fmla="*/ 598858 h 3105260"/>
              <a:gd name="connsiteX1696" fmla="*/ 2781326 w 3105279"/>
              <a:gd name="connsiteY1696" fmla="*/ 603473 h 3105260"/>
              <a:gd name="connsiteX1697" fmla="*/ 2758400 w 3105279"/>
              <a:gd name="connsiteY1697" fmla="*/ 621177 h 3105260"/>
              <a:gd name="connsiteX1698" fmla="*/ 347321 w 3105279"/>
              <a:gd name="connsiteY1698" fmla="*/ 620534 h 3105260"/>
              <a:gd name="connsiteX1699" fmla="*/ 324395 w 3105279"/>
              <a:gd name="connsiteY1699" fmla="*/ 602829 h 3105260"/>
              <a:gd name="connsiteX1700" fmla="*/ 327980 w 3105279"/>
              <a:gd name="connsiteY1700" fmla="*/ 598215 h 3105260"/>
              <a:gd name="connsiteX1701" fmla="*/ 350832 w 3105279"/>
              <a:gd name="connsiteY1701" fmla="*/ 616011 h 3105260"/>
              <a:gd name="connsiteX1702" fmla="*/ 347321 w 3105279"/>
              <a:gd name="connsiteY1702" fmla="*/ 620534 h 3105260"/>
              <a:gd name="connsiteX1703" fmla="*/ 2745991 w 3105279"/>
              <a:gd name="connsiteY1703" fmla="*/ 605330 h 3105260"/>
              <a:gd name="connsiteX1704" fmla="*/ 2742406 w 3105279"/>
              <a:gd name="connsiteY1704" fmla="*/ 600825 h 3105260"/>
              <a:gd name="connsiteX1705" fmla="*/ 2765056 w 3105279"/>
              <a:gd name="connsiteY1705" fmla="*/ 582753 h 3105260"/>
              <a:gd name="connsiteX1706" fmla="*/ 2768696 w 3105279"/>
              <a:gd name="connsiteY1706" fmla="*/ 587331 h 3105260"/>
              <a:gd name="connsiteX1707" fmla="*/ 2745991 w 3105279"/>
              <a:gd name="connsiteY1707" fmla="*/ 605330 h 3105260"/>
              <a:gd name="connsiteX1708" fmla="*/ 359694 w 3105279"/>
              <a:gd name="connsiteY1708" fmla="*/ 604723 h 3105260"/>
              <a:gd name="connsiteX1709" fmla="*/ 336989 w 3105279"/>
              <a:gd name="connsiteY1709" fmla="*/ 586706 h 3105260"/>
              <a:gd name="connsiteX1710" fmla="*/ 340629 w 3105279"/>
              <a:gd name="connsiteY1710" fmla="*/ 582128 h 3105260"/>
              <a:gd name="connsiteX1711" fmla="*/ 363260 w 3105279"/>
              <a:gd name="connsiteY1711" fmla="*/ 600219 h 3105260"/>
              <a:gd name="connsiteX1712" fmla="*/ 359694 w 3105279"/>
              <a:gd name="connsiteY1712" fmla="*/ 604705 h 3105260"/>
              <a:gd name="connsiteX1713" fmla="*/ 2733397 w 3105279"/>
              <a:gd name="connsiteY1713" fmla="*/ 589666 h 3105260"/>
              <a:gd name="connsiteX1714" fmla="*/ 2729757 w 3105279"/>
              <a:gd name="connsiteY1714" fmla="*/ 585217 h 3105260"/>
              <a:gd name="connsiteX1715" fmla="*/ 2752150 w 3105279"/>
              <a:gd name="connsiteY1715" fmla="*/ 566832 h 3105260"/>
              <a:gd name="connsiteX1716" fmla="*/ 2755863 w 3105279"/>
              <a:gd name="connsiteY1716" fmla="*/ 571373 h 3105260"/>
              <a:gd name="connsiteX1717" fmla="*/ 2733397 w 3105279"/>
              <a:gd name="connsiteY1717" fmla="*/ 589666 h 3105260"/>
              <a:gd name="connsiteX1718" fmla="*/ 372269 w 3105279"/>
              <a:gd name="connsiteY1718" fmla="*/ 589096 h 3105260"/>
              <a:gd name="connsiteX1719" fmla="*/ 349821 w 3105279"/>
              <a:gd name="connsiteY1719" fmla="*/ 570785 h 3105260"/>
              <a:gd name="connsiteX1720" fmla="*/ 353517 w 3105279"/>
              <a:gd name="connsiteY1720" fmla="*/ 566262 h 3105260"/>
              <a:gd name="connsiteX1721" fmla="*/ 375909 w 3105279"/>
              <a:gd name="connsiteY1721" fmla="*/ 584665 h 3105260"/>
              <a:gd name="connsiteX1722" fmla="*/ 372287 w 3105279"/>
              <a:gd name="connsiteY1722" fmla="*/ 589096 h 3105260"/>
              <a:gd name="connsiteX1723" fmla="*/ 2720602 w 3105279"/>
              <a:gd name="connsiteY1723" fmla="*/ 574149 h 3105260"/>
              <a:gd name="connsiteX1724" fmla="*/ 2716906 w 3105279"/>
              <a:gd name="connsiteY1724" fmla="*/ 569756 h 3105260"/>
              <a:gd name="connsiteX1725" fmla="*/ 2739060 w 3105279"/>
              <a:gd name="connsiteY1725" fmla="*/ 551095 h 3105260"/>
              <a:gd name="connsiteX1726" fmla="*/ 2742829 w 3105279"/>
              <a:gd name="connsiteY1726" fmla="*/ 555581 h 3105260"/>
              <a:gd name="connsiteX1727" fmla="*/ 2720602 w 3105279"/>
              <a:gd name="connsiteY1727" fmla="*/ 574168 h 3105260"/>
              <a:gd name="connsiteX1728" fmla="*/ 385046 w 3105279"/>
              <a:gd name="connsiteY1728" fmla="*/ 573635 h 3105260"/>
              <a:gd name="connsiteX1729" fmla="*/ 362838 w 3105279"/>
              <a:gd name="connsiteY1729" fmla="*/ 555029 h 3105260"/>
              <a:gd name="connsiteX1730" fmla="*/ 366606 w 3105279"/>
              <a:gd name="connsiteY1730" fmla="*/ 550562 h 3105260"/>
              <a:gd name="connsiteX1731" fmla="*/ 388741 w 3105279"/>
              <a:gd name="connsiteY1731" fmla="*/ 569259 h 3105260"/>
              <a:gd name="connsiteX1732" fmla="*/ 385065 w 3105279"/>
              <a:gd name="connsiteY1732" fmla="*/ 573635 h 3105260"/>
              <a:gd name="connsiteX1733" fmla="*/ 2707604 w 3105279"/>
              <a:gd name="connsiteY1733" fmla="*/ 558817 h 3105260"/>
              <a:gd name="connsiteX1734" fmla="*/ 2703853 w 3105279"/>
              <a:gd name="connsiteY1734" fmla="*/ 554460 h 3105260"/>
              <a:gd name="connsiteX1735" fmla="*/ 2725768 w 3105279"/>
              <a:gd name="connsiteY1735" fmla="*/ 535505 h 3105260"/>
              <a:gd name="connsiteX1736" fmla="*/ 2729592 w 3105279"/>
              <a:gd name="connsiteY1736" fmla="*/ 539936 h 3105260"/>
              <a:gd name="connsiteX1737" fmla="*/ 2707622 w 3105279"/>
              <a:gd name="connsiteY1737" fmla="*/ 558817 h 3105260"/>
              <a:gd name="connsiteX1738" fmla="*/ 398007 w 3105279"/>
              <a:gd name="connsiteY1738" fmla="*/ 558357 h 3105260"/>
              <a:gd name="connsiteX1739" fmla="*/ 376038 w 3105279"/>
              <a:gd name="connsiteY1739" fmla="*/ 539458 h 3105260"/>
              <a:gd name="connsiteX1740" fmla="*/ 379862 w 3105279"/>
              <a:gd name="connsiteY1740" fmla="*/ 535046 h 3105260"/>
              <a:gd name="connsiteX1741" fmla="*/ 401758 w 3105279"/>
              <a:gd name="connsiteY1741" fmla="*/ 554018 h 3105260"/>
              <a:gd name="connsiteX1742" fmla="*/ 398007 w 3105279"/>
              <a:gd name="connsiteY1742" fmla="*/ 558357 h 3105260"/>
              <a:gd name="connsiteX1743" fmla="*/ 2694385 w 3105279"/>
              <a:gd name="connsiteY1743" fmla="*/ 543649 h 3105260"/>
              <a:gd name="connsiteX1744" fmla="*/ 2690598 w 3105279"/>
              <a:gd name="connsiteY1744" fmla="*/ 539384 h 3105260"/>
              <a:gd name="connsiteX1745" fmla="*/ 2712237 w 3105279"/>
              <a:gd name="connsiteY1745" fmla="*/ 520117 h 3105260"/>
              <a:gd name="connsiteX1746" fmla="*/ 2716116 w 3105279"/>
              <a:gd name="connsiteY1746" fmla="*/ 524493 h 3105260"/>
              <a:gd name="connsiteX1747" fmla="*/ 2694385 w 3105279"/>
              <a:gd name="connsiteY1747" fmla="*/ 543649 h 3105260"/>
              <a:gd name="connsiteX1748" fmla="*/ 411189 w 3105279"/>
              <a:gd name="connsiteY1748" fmla="*/ 543245 h 3105260"/>
              <a:gd name="connsiteX1749" fmla="*/ 389477 w 3105279"/>
              <a:gd name="connsiteY1749" fmla="*/ 524052 h 3105260"/>
              <a:gd name="connsiteX1750" fmla="*/ 393338 w 3105279"/>
              <a:gd name="connsiteY1750" fmla="*/ 519694 h 3105260"/>
              <a:gd name="connsiteX1751" fmla="*/ 414976 w 3105279"/>
              <a:gd name="connsiteY1751" fmla="*/ 538961 h 3105260"/>
              <a:gd name="connsiteX1752" fmla="*/ 411171 w 3105279"/>
              <a:gd name="connsiteY1752" fmla="*/ 543245 h 3105260"/>
              <a:gd name="connsiteX1753" fmla="*/ 2681038 w 3105279"/>
              <a:gd name="connsiteY1753" fmla="*/ 528721 h 3105260"/>
              <a:gd name="connsiteX1754" fmla="*/ 2677177 w 3105279"/>
              <a:gd name="connsiteY1754" fmla="*/ 524493 h 3105260"/>
              <a:gd name="connsiteX1755" fmla="*/ 2698577 w 3105279"/>
              <a:gd name="connsiteY1755" fmla="*/ 504950 h 3105260"/>
              <a:gd name="connsiteX1756" fmla="*/ 2702493 w 3105279"/>
              <a:gd name="connsiteY1756" fmla="*/ 509252 h 3105260"/>
              <a:gd name="connsiteX1757" fmla="*/ 2681020 w 3105279"/>
              <a:gd name="connsiteY1757" fmla="*/ 528721 h 3105260"/>
              <a:gd name="connsiteX1758" fmla="*/ 424573 w 3105279"/>
              <a:gd name="connsiteY1758" fmla="*/ 528317 h 3105260"/>
              <a:gd name="connsiteX1759" fmla="*/ 403118 w 3105279"/>
              <a:gd name="connsiteY1759" fmla="*/ 508848 h 3105260"/>
              <a:gd name="connsiteX1760" fmla="*/ 407052 w 3105279"/>
              <a:gd name="connsiteY1760" fmla="*/ 504527 h 3105260"/>
              <a:gd name="connsiteX1761" fmla="*/ 428434 w 3105279"/>
              <a:gd name="connsiteY1761" fmla="*/ 524088 h 3105260"/>
              <a:gd name="connsiteX1762" fmla="*/ 424591 w 3105279"/>
              <a:gd name="connsiteY1762" fmla="*/ 528317 h 3105260"/>
              <a:gd name="connsiteX1763" fmla="*/ 2667489 w 3105279"/>
              <a:gd name="connsiteY1763" fmla="*/ 513977 h 3105260"/>
              <a:gd name="connsiteX1764" fmla="*/ 2663591 w 3105279"/>
              <a:gd name="connsiteY1764" fmla="*/ 509803 h 3105260"/>
              <a:gd name="connsiteX1765" fmla="*/ 2684715 w 3105279"/>
              <a:gd name="connsiteY1765" fmla="*/ 489985 h 3105260"/>
              <a:gd name="connsiteX1766" fmla="*/ 2688705 w 3105279"/>
              <a:gd name="connsiteY1766" fmla="*/ 494250 h 3105260"/>
              <a:gd name="connsiteX1767" fmla="*/ 2667489 w 3105279"/>
              <a:gd name="connsiteY1767" fmla="*/ 513977 h 3105260"/>
              <a:gd name="connsiteX1768" fmla="*/ 438122 w 3105279"/>
              <a:gd name="connsiteY1768" fmla="*/ 513572 h 3105260"/>
              <a:gd name="connsiteX1769" fmla="*/ 416925 w 3105279"/>
              <a:gd name="connsiteY1769" fmla="*/ 493809 h 3105260"/>
              <a:gd name="connsiteX1770" fmla="*/ 420914 w 3105279"/>
              <a:gd name="connsiteY1770" fmla="*/ 489544 h 3105260"/>
              <a:gd name="connsiteX1771" fmla="*/ 442038 w 3105279"/>
              <a:gd name="connsiteY1771" fmla="*/ 509381 h 3105260"/>
              <a:gd name="connsiteX1772" fmla="*/ 438122 w 3105279"/>
              <a:gd name="connsiteY1772" fmla="*/ 513572 h 3105260"/>
              <a:gd name="connsiteX1773" fmla="*/ 2653755 w 3105279"/>
              <a:gd name="connsiteY1773" fmla="*/ 499416 h 3105260"/>
              <a:gd name="connsiteX1774" fmla="*/ 2649784 w 3105279"/>
              <a:gd name="connsiteY1774" fmla="*/ 495280 h 3105260"/>
              <a:gd name="connsiteX1775" fmla="*/ 2670651 w 3105279"/>
              <a:gd name="connsiteY1775" fmla="*/ 475185 h 3105260"/>
              <a:gd name="connsiteX1776" fmla="*/ 2674696 w 3105279"/>
              <a:gd name="connsiteY1776" fmla="*/ 479395 h 3105260"/>
              <a:gd name="connsiteX1777" fmla="*/ 2653755 w 3105279"/>
              <a:gd name="connsiteY1777" fmla="*/ 499416 h 3105260"/>
              <a:gd name="connsiteX1778" fmla="*/ 451892 w 3105279"/>
              <a:gd name="connsiteY1778" fmla="*/ 498993 h 3105260"/>
              <a:gd name="connsiteX1779" fmla="*/ 430971 w 3105279"/>
              <a:gd name="connsiteY1779" fmla="*/ 478954 h 3105260"/>
              <a:gd name="connsiteX1780" fmla="*/ 435015 w 3105279"/>
              <a:gd name="connsiteY1780" fmla="*/ 474744 h 3105260"/>
              <a:gd name="connsiteX1781" fmla="*/ 455863 w 3105279"/>
              <a:gd name="connsiteY1781" fmla="*/ 494857 h 3105260"/>
              <a:gd name="connsiteX1782" fmla="*/ 451892 w 3105279"/>
              <a:gd name="connsiteY1782" fmla="*/ 498993 h 3105260"/>
              <a:gd name="connsiteX1783" fmla="*/ 2639820 w 3105279"/>
              <a:gd name="connsiteY1783" fmla="*/ 485021 h 3105260"/>
              <a:gd name="connsiteX1784" fmla="*/ 2635794 w 3105279"/>
              <a:gd name="connsiteY1784" fmla="*/ 480940 h 3105260"/>
              <a:gd name="connsiteX1785" fmla="*/ 2656385 w 3105279"/>
              <a:gd name="connsiteY1785" fmla="*/ 460570 h 3105260"/>
              <a:gd name="connsiteX1786" fmla="*/ 2660484 w 3105279"/>
              <a:gd name="connsiteY1786" fmla="*/ 464725 h 3105260"/>
              <a:gd name="connsiteX1787" fmla="*/ 2639820 w 3105279"/>
              <a:gd name="connsiteY1787" fmla="*/ 485021 h 3105260"/>
              <a:gd name="connsiteX1788" fmla="*/ 465846 w 3105279"/>
              <a:gd name="connsiteY1788" fmla="*/ 484617 h 3105260"/>
              <a:gd name="connsiteX1789" fmla="*/ 445182 w 3105279"/>
              <a:gd name="connsiteY1789" fmla="*/ 464302 h 3105260"/>
              <a:gd name="connsiteX1790" fmla="*/ 449282 w 3105279"/>
              <a:gd name="connsiteY1790" fmla="*/ 460147 h 3105260"/>
              <a:gd name="connsiteX1791" fmla="*/ 469872 w 3105279"/>
              <a:gd name="connsiteY1791" fmla="*/ 480535 h 3105260"/>
              <a:gd name="connsiteX1792" fmla="*/ 465846 w 3105279"/>
              <a:gd name="connsiteY1792" fmla="*/ 484617 h 3105260"/>
              <a:gd name="connsiteX1793" fmla="*/ 2625701 w 3105279"/>
              <a:gd name="connsiteY1793" fmla="*/ 470828 h 3105260"/>
              <a:gd name="connsiteX1794" fmla="*/ 2621619 w 3105279"/>
              <a:gd name="connsiteY1794" fmla="*/ 466802 h 3105260"/>
              <a:gd name="connsiteX1795" fmla="*/ 2641953 w 3105279"/>
              <a:gd name="connsiteY1795" fmla="*/ 446156 h 3105260"/>
              <a:gd name="connsiteX1796" fmla="*/ 2646107 w 3105279"/>
              <a:gd name="connsiteY1796" fmla="*/ 450256 h 3105260"/>
              <a:gd name="connsiteX1797" fmla="*/ 2625701 w 3105279"/>
              <a:gd name="connsiteY1797" fmla="*/ 470828 h 3105260"/>
              <a:gd name="connsiteX1798" fmla="*/ 479984 w 3105279"/>
              <a:gd name="connsiteY1798" fmla="*/ 470424 h 3105260"/>
              <a:gd name="connsiteX1799" fmla="*/ 459596 w 3105279"/>
              <a:gd name="connsiteY1799" fmla="*/ 449852 h 3105260"/>
              <a:gd name="connsiteX1800" fmla="*/ 463750 w 3105279"/>
              <a:gd name="connsiteY1800" fmla="*/ 445752 h 3105260"/>
              <a:gd name="connsiteX1801" fmla="*/ 484065 w 3105279"/>
              <a:gd name="connsiteY1801" fmla="*/ 466416 h 3105260"/>
              <a:gd name="connsiteX1802" fmla="*/ 480002 w 3105279"/>
              <a:gd name="connsiteY1802" fmla="*/ 470424 h 3105260"/>
              <a:gd name="connsiteX1803" fmla="*/ 2611361 w 3105279"/>
              <a:gd name="connsiteY1803" fmla="*/ 456801 h 3105260"/>
              <a:gd name="connsiteX1804" fmla="*/ 2607243 w 3105279"/>
              <a:gd name="connsiteY1804" fmla="*/ 452830 h 3105260"/>
              <a:gd name="connsiteX1805" fmla="*/ 2627282 w 3105279"/>
              <a:gd name="connsiteY1805" fmla="*/ 431908 h 3105260"/>
              <a:gd name="connsiteX1806" fmla="*/ 2631492 w 3105279"/>
              <a:gd name="connsiteY1806" fmla="*/ 435953 h 3105260"/>
              <a:gd name="connsiteX1807" fmla="*/ 2611361 w 3105279"/>
              <a:gd name="connsiteY1807" fmla="*/ 456782 h 3105260"/>
              <a:gd name="connsiteX1808" fmla="*/ 494306 w 3105279"/>
              <a:gd name="connsiteY1808" fmla="*/ 456415 h 3105260"/>
              <a:gd name="connsiteX1809" fmla="*/ 474174 w 3105279"/>
              <a:gd name="connsiteY1809" fmla="*/ 435567 h 3105260"/>
              <a:gd name="connsiteX1810" fmla="*/ 478385 w 3105279"/>
              <a:gd name="connsiteY1810" fmla="*/ 431522 h 3105260"/>
              <a:gd name="connsiteX1811" fmla="*/ 498424 w 3105279"/>
              <a:gd name="connsiteY1811" fmla="*/ 452444 h 3105260"/>
              <a:gd name="connsiteX1812" fmla="*/ 494306 w 3105279"/>
              <a:gd name="connsiteY1812" fmla="*/ 456396 h 3105260"/>
              <a:gd name="connsiteX1813" fmla="*/ 2596855 w 3105279"/>
              <a:gd name="connsiteY1813" fmla="*/ 442976 h 3105260"/>
              <a:gd name="connsiteX1814" fmla="*/ 2592682 w 3105279"/>
              <a:gd name="connsiteY1814" fmla="*/ 439060 h 3105260"/>
              <a:gd name="connsiteX1815" fmla="*/ 2612464 w 3105279"/>
              <a:gd name="connsiteY1815" fmla="*/ 417881 h 3105260"/>
              <a:gd name="connsiteX1816" fmla="*/ 2616729 w 3105279"/>
              <a:gd name="connsiteY1816" fmla="*/ 421870 h 3105260"/>
              <a:gd name="connsiteX1817" fmla="*/ 2596855 w 3105279"/>
              <a:gd name="connsiteY1817" fmla="*/ 442957 h 3105260"/>
              <a:gd name="connsiteX1818" fmla="*/ 508811 w 3105279"/>
              <a:gd name="connsiteY1818" fmla="*/ 442608 h 3105260"/>
              <a:gd name="connsiteX1819" fmla="*/ 488974 w 3105279"/>
              <a:gd name="connsiteY1819" fmla="*/ 421484 h 3105260"/>
              <a:gd name="connsiteX1820" fmla="*/ 493221 w 3105279"/>
              <a:gd name="connsiteY1820" fmla="*/ 417495 h 3105260"/>
              <a:gd name="connsiteX1821" fmla="*/ 512984 w 3105279"/>
              <a:gd name="connsiteY1821" fmla="*/ 438692 h 3105260"/>
              <a:gd name="connsiteX1822" fmla="*/ 508811 w 3105279"/>
              <a:gd name="connsiteY1822" fmla="*/ 442608 h 3105260"/>
              <a:gd name="connsiteX1823" fmla="*/ 2582185 w 3105279"/>
              <a:gd name="connsiteY1823" fmla="*/ 429334 h 3105260"/>
              <a:gd name="connsiteX1824" fmla="*/ 2577956 w 3105279"/>
              <a:gd name="connsiteY1824" fmla="*/ 425474 h 3105260"/>
              <a:gd name="connsiteX1825" fmla="*/ 2597444 w 3105279"/>
              <a:gd name="connsiteY1825" fmla="*/ 404037 h 3105260"/>
              <a:gd name="connsiteX1826" fmla="*/ 2601764 w 3105279"/>
              <a:gd name="connsiteY1826" fmla="*/ 407972 h 3105260"/>
              <a:gd name="connsiteX1827" fmla="*/ 2582185 w 3105279"/>
              <a:gd name="connsiteY1827" fmla="*/ 429334 h 3105260"/>
              <a:gd name="connsiteX1828" fmla="*/ 523482 w 3105279"/>
              <a:gd name="connsiteY1828" fmla="*/ 428985 h 3105260"/>
              <a:gd name="connsiteX1829" fmla="*/ 503921 w 3105279"/>
              <a:gd name="connsiteY1829" fmla="*/ 407604 h 3105260"/>
              <a:gd name="connsiteX1830" fmla="*/ 508223 w 3105279"/>
              <a:gd name="connsiteY1830" fmla="*/ 403670 h 3105260"/>
              <a:gd name="connsiteX1831" fmla="*/ 527710 w 3105279"/>
              <a:gd name="connsiteY1831" fmla="*/ 425124 h 3105260"/>
              <a:gd name="connsiteX1832" fmla="*/ 523482 w 3105279"/>
              <a:gd name="connsiteY1832" fmla="*/ 428985 h 3105260"/>
              <a:gd name="connsiteX1833" fmla="*/ 2567311 w 3105279"/>
              <a:gd name="connsiteY1833" fmla="*/ 415895 h 3105260"/>
              <a:gd name="connsiteX1834" fmla="*/ 2563028 w 3105279"/>
              <a:gd name="connsiteY1834" fmla="*/ 412090 h 3105260"/>
              <a:gd name="connsiteX1835" fmla="*/ 2582221 w 3105279"/>
              <a:gd name="connsiteY1835" fmla="*/ 390396 h 3105260"/>
              <a:gd name="connsiteX1836" fmla="*/ 2586578 w 3105279"/>
              <a:gd name="connsiteY1836" fmla="*/ 394275 h 3105260"/>
              <a:gd name="connsiteX1837" fmla="*/ 2567293 w 3105279"/>
              <a:gd name="connsiteY1837" fmla="*/ 415895 h 3105260"/>
              <a:gd name="connsiteX1838" fmla="*/ 538355 w 3105279"/>
              <a:gd name="connsiteY1838" fmla="*/ 415564 h 3105260"/>
              <a:gd name="connsiteX1839" fmla="*/ 519088 w 3105279"/>
              <a:gd name="connsiteY1839" fmla="*/ 393926 h 3105260"/>
              <a:gd name="connsiteX1840" fmla="*/ 523445 w 3105279"/>
              <a:gd name="connsiteY1840" fmla="*/ 390065 h 3105260"/>
              <a:gd name="connsiteX1841" fmla="*/ 542639 w 3105279"/>
              <a:gd name="connsiteY1841" fmla="*/ 411759 h 3105260"/>
              <a:gd name="connsiteX1842" fmla="*/ 538355 w 3105279"/>
              <a:gd name="connsiteY1842" fmla="*/ 415564 h 3105260"/>
              <a:gd name="connsiteX1843" fmla="*/ 2552254 w 3105279"/>
              <a:gd name="connsiteY1843" fmla="*/ 402640 h 3105260"/>
              <a:gd name="connsiteX1844" fmla="*/ 2547934 w 3105279"/>
              <a:gd name="connsiteY1844" fmla="*/ 398890 h 3105260"/>
              <a:gd name="connsiteX1845" fmla="*/ 2566852 w 3105279"/>
              <a:gd name="connsiteY1845" fmla="*/ 376938 h 3105260"/>
              <a:gd name="connsiteX1846" fmla="*/ 2571264 w 3105279"/>
              <a:gd name="connsiteY1846" fmla="*/ 380762 h 3105260"/>
              <a:gd name="connsiteX1847" fmla="*/ 2552254 w 3105279"/>
              <a:gd name="connsiteY1847" fmla="*/ 402622 h 3105260"/>
              <a:gd name="connsiteX1848" fmla="*/ 553394 w 3105279"/>
              <a:gd name="connsiteY1848" fmla="*/ 402346 h 3105260"/>
              <a:gd name="connsiteX1849" fmla="*/ 534402 w 3105279"/>
              <a:gd name="connsiteY1849" fmla="*/ 380468 h 3105260"/>
              <a:gd name="connsiteX1850" fmla="*/ 538833 w 3105279"/>
              <a:gd name="connsiteY1850" fmla="*/ 376644 h 3105260"/>
              <a:gd name="connsiteX1851" fmla="*/ 557732 w 3105279"/>
              <a:gd name="connsiteY1851" fmla="*/ 398614 h 3105260"/>
              <a:gd name="connsiteX1852" fmla="*/ 553394 w 3105279"/>
              <a:gd name="connsiteY1852" fmla="*/ 402364 h 3105260"/>
              <a:gd name="connsiteX1853" fmla="*/ 2537050 w 3105279"/>
              <a:gd name="connsiteY1853" fmla="*/ 389605 h 3105260"/>
              <a:gd name="connsiteX1854" fmla="*/ 2532675 w 3105279"/>
              <a:gd name="connsiteY1854" fmla="*/ 385910 h 3105260"/>
              <a:gd name="connsiteX1855" fmla="*/ 2551298 w 3105279"/>
              <a:gd name="connsiteY1855" fmla="*/ 363702 h 3105260"/>
              <a:gd name="connsiteX1856" fmla="*/ 2555766 w 3105279"/>
              <a:gd name="connsiteY1856" fmla="*/ 367470 h 3105260"/>
              <a:gd name="connsiteX1857" fmla="*/ 2537069 w 3105279"/>
              <a:gd name="connsiteY1857" fmla="*/ 389605 h 3105260"/>
              <a:gd name="connsiteX1858" fmla="*/ 568671 w 3105279"/>
              <a:gd name="connsiteY1858" fmla="*/ 389274 h 3105260"/>
              <a:gd name="connsiteX1859" fmla="*/ 549974 w 3105279"/>
              <a:gd name="connsiteY1859" fmla="*/ 367139 h 3105260"/>
              <a:gd name="connsiteX1860" fmla="*/ 554460 w 3105279"/>
              <a:gd name="connsiteY1860" fmla="*/ 363371 h 3105260"/>
              <a:gd name="connsiteX1861" fmla="*/ 573065 w 3105279"/>
              <a:gd name="connsiteY1861" fmla="*/ 385579 h 3105260"/>
              <a:gd name="connsiteX1862" fmla="*/ 568671 w 3105279"/>
              <a:gd name="connsiteY1862" fmla="*/ 389274 h 3105260"/>
              <a:gd name="connsiteX1863" fmla="*/ 2521644 w 3105279"/>
              <a:gd name="connsiteY1863" fmla="*/ 376755 h 3105260"/>
              <a:gd name="connsiteX1864" fmla="*/ 2517213 w 3105279"/>
              <a:gd name="connsiteY1864" fmla="*/ 373114 h 3105260"/>
              <a:gd name="connsiteX1865" fmla="*/ 2535543 w 3105279"/>
              <a:gd name="connsiteY1865" fmla="*/ 350685 h 3105260"/>
              <a:gd name="connsiteX1866" fmla="*/ 2540047 w 3105279"/>
              <a:gd name="connsiteY1866" fmla="*/ 354381 h 3105260"/>
              <a:gd name="connsiteX1867" fmla="*/ 2521644 w 3105279"/>
              <a:gd name="connsiteY1867" fmla="*/ 376755 h 3105260"/>
              <a:gd name="connsiteX1868" fmla="*/ 584114 w 3105279"/>
              <a:gd name="connsiteY1868" fmla="*/ 376405 h 3105260"/>
              <a:gd name="connsiteX1869" fmla="*/ 565711 w 3105279"/>
              <a:gd name="connsiteY1869" fmla="*/ 354013 h 3105260"/>
              <a:gd name="connsiteX1870" fmla="*/ 570252 w 3105279"/>
              <a:gd name="connsiteY1870" fmla="*/ 350299 h 3105260"/>
              <a:gd name="connsiteX1871" fmla="*/ 588563 w 3105279"/>
              <a:gd name="connsiteY1871" fmla="*/ 372765 h 3105260"/>
              <a:gd name="connsiteX1872" fmla="*/ 584114 w 3105279"/>
              <a:gd name="connsiteY1872" fmla="*/ 376405 h 3105260"/>
              <a:gd name="connsiteX1873" fmla="*/ 2506072 w 3105279"/>
              <a:gd name="connsiteY1873" fmla="*/ 364124 h 3105260"/>
              <a:gd name="connsiteX1874" fmla="*/ 2501605 w 3105279"/>
              <a:gd name="connsiteY1874" fmla="*/ 360558 h 3105260"/>
              <a:gd name="connsiteX1875" fmla="*/ 2519640 w 3105279"/>
              <a:gd name="connsiteY1875" fmla="*/ 337871 h 3105260"/>
              <a:gd name="connsiteX1876" fmla="*/ 2524200 w 3105279"/>
              <a:gd name="connsiteY1876" fmla="*/ 341511 h 3105260"/>
              <a:gd name="connsiteX1877" fmla="*/ 2506091 w 3105279"/>
              <a:gd name="connsiteY1877" fmla="*/ 364124 h 3105260"/>
              <a:gd name="connsiteX1878" fmla="*/ 599723 w 3105279"/>
              <a:gd name="connsiteY1878" fmla="*/ 363738 h 3105260"/>
              <a:gd name="connsiteX1879" fmla="*/ 581632 w 3105279"/>
              <a:gd name="connsiteY1879" fmla="*/ 341107 h 3105260"/>
              <a:gd name="connsiteX1880" fmla="*/ 586210 w 3105279"/>
              <a:gd name="connsiteY1880" fmla="*/ 337467 h 3105260"/>
              <a:gd name="connsiteX1881" fmla="*/ 604227 w 3105279"/>
              <a:gd name="connsiteY1881" fmla="*/ 360153 h 3105260"/>
              <a:gd name="connsiteX1882" fmla="*/ 599741 w 3105279"/>
              <a:gd name="connsiteY1882" fmla="*/ 363738 h 3105260"/>
              <a:gd name="connsiteX1883" fmla="*/ 2490335 w 3105279"/>
              <a:gd name="connsiteY1883" fmla="*/ 351678 h 3105260"/>
              <a:gd name="connsiteX1884" fmla="*/ 2485813 w 3105279"/>
              <a:gd name="connsiteY1884" fmla="*/ 348167 h 3105260"/>
              <a:gd name="connsiteX1885" fmla="*/ 2503535 w 3105279"/>
              <a:gd name="connsiteY1885" fmla="*/ 325259 h 3105260"/>
              <a:gd name="connsiteX1886" fmla="*/ 2508150 w 3105279"/>
              <a:gd name="connsiteY1886" fmla="*/ 328844 h 3105260"/>
              <a:gd name="connsiteX1887" fmla="*/ 2490335 w 3105279"/>
              <a:gd name="connsiteY1887" fmla="*/ 351696 h 3105260"/>
              <a:gd name="connsiteX1888" fmla="*/ 615515 w 3105279"/>
              <a:gd name="connsiteY1888" fmla="*/ 351292 h 3105260"/>
              <a:gd name="connsiteX1889" fmla="*/ 597719 w 3105279"/>
              <a:gd name="connsiteY1889" fmla="*/ 328422 h 3105260"/>
              <a:gd name="connsiteX1890" fmla="*/ 602352 w 3105279"/>
              <a:gd name="connsiteY1890" fmla="*/ 324837 h 3105260"/>
              <a:gd name="connsiteX1891" fmla="*/ 620056 w 3105279"/>
              <a:gd name="connsiteY1891" fmla="*/ 347762 h 3105260"/>
              <a:gd name="connsiteX1892" fmla="*/ 615515 w 3105279"/>
              <a:gd name="connsiteY1892" fmla="*/ 351274 h 3105260"/>
              <a:gd name="connsiteX1893" fmla="*/ 2474432 w 3105279"/>
              <a:gd name="connsiteY1893" fmla="*/ 339452 h 3105260"/>
              <a:gd name="connsiteX1894" fmla="*/ 2469855 w 3105279"/>
              <a:gd name="connsiteY1894" fmla="*/ 335996 h 3105260"/>
              <a:gd name="connsiteX1895" fmla="*/ 2487283 w 3105279"/>
              <a:gd name="connsiteY1895" fmla="*/ 312850 h 3105260"/>
              <a:gd name="connsiteX1896" fmla="*/ 2491953 w 3105279"/>
              <a:gd name="connsiteY1896" fmla="*/ 316380 h 3105260"/>
              <a:gd name="connsiteX1897" fmla="*/ 2474432 w 3105279"/>
              <a:gd name="connsiteY1897" fmla="*/ 339471 h 3105260"/>
              <a:gd name="connsiteX1898" fmla="*/ 631473 w 3105279"/>
              <a:gd name="connsiteY1898" fmla="*/ 339048 h 3105260"/>
              <a:gd name="connsiteX1899" fmla="*/ 613989 w 3105279"/>
              <a:gd name="connsiteY1899" fmla="*/ 315957 h 3105260"/>
              <a:gd name="connsiteX1900" fmla="*/ 618659 w 3105279"/>
              <a:gd name="connsiteY1900" fmla="*/ 312427 h 3105260"/>
              <a:gd name="connsiteX1901" fmla="*/ 636069 w 3105279"/>
              <a:gd name="connsiteY1901" fmla="*/ 335592 h 3105260"/>
              <a:gd name="connsiteX1902" fmla="*/ 631491 w 3105279"/>
              <a:gd name="connsiteY1902" fmla="*/ 339048 h 3105260"/>
              <a:gd name="connsiteX1903" fmla="*/ 2458383 w 3105279"/>
              <a:gd name="connsiteY1903" fmla="*/ 327429 h 3105260"/>
              <a:gd name="connsiteX1904" fmla="*/ 2453750 w 3105279"/>
              <a:gd name="connsiteY1904" fmla="*/ 324028 h 3105260"/>
              <a:gd name="connsiteX1905" fmla="*/ 2470866 w 3105279"/>
              <a:gd name="connsiteY1905" fmla="*/ 300643 h 3105260"/>
              <a:gd name="connsiteX1906" fmla="*/ 2475573 w 3105279"/>
              <a:gd name="connsiteY1906" fmla="*/ 304099 h 3105260"/>
              <a:gd name="connsiteX1907" fmla="*/ 2458383 w 3105279"/>
              <a:gd name="connsiteY1907" fmla="*/ 327410 h 3105260"/>
              <a:gd name="connsiteX1908" fmla="*/ 647578 w 3105279"/>
              <a:gd name="connsiteY1908" fmla="*/ 327006 h 3105260"/>
              <a:gd name="connsiteX1909" fmla="*/ 630388 w 3105279"/>
              <a:gd name="connsiteY1909" fmla="*/ 303676 h 3105260"/>
              <a:gd name="connsiteX1910" fmla="*/ 635113 w 3105279"/>
              <a:gd name="connsiteY1910" fmla="*/ 300220 h 3105260"/>
              <a:gd name="connsiteX1911" fmla="*/ 652211 w 3105279"/>
              <a:gd name="connsiteY1911" fmla="*/ 323605 h 3105260"/>
              <a:gd name="connsiteX1912" fmla="*/ 647578 w 3105279"/>
              <a:gd name="connsiteY1912" fmla="*/ 327006 h 3105260"/>
              <a:gd name="connsiteX1913" fmla="*/ 2442149 w 3105279"/>
              <a:gd name="connsiteY1913" fmla="*/ 315626 h 3105260"/>
              <a:gd name="connsiteX1914" fmla="*/ 2437480 w 3105279"/>
              <a:gd name="connsiteY1914" fmla="*/ 312298 h 3105260"/>
              <a:gd name="connsiteX1915" fmla="*/ 2454283 w 3105279"/>
              <a:gd name="connsiteY1915" fmla="*/ 288693 h 3105260"/>
              <a:gd name="connsiteX1916" fmla="*/ 2459026 w 3105279"/>
              <a:gd name="connsiteY1916" fmla="*/ 292094 h 3105260"/>
              <a:gd name="connsiteX1917" fmla="*/ 2442131 w 3105279"/>
              <a:gd name="connsiteY1917" fmla="*/ 315626 h 3105260"/>
              <a:gd name="connsiteX1918" fmla="*/ 663848 w 3105279"/>
              <a:gd name="connsiteY1918" fmla="*/ 315185 h 3105260"/>
              <a:gd name="connsiteX1919" fmla="*/ 646971 w 3105279"/>
              <a:gd name="connsiteY1919" fmla="*/ 291634 h 3105260"/>
              <a:gd name="connsiteX1920" fmla="*/ 651733 w 3105279"/>
              <a:gd name="connsiteY1920" fmla="*/ 288233 h 3105260"/>
              <a:gd name="connsiteX1921" fmla="*/ 668536 w 3105279"/>
              <a:gd name="connsiteY1921" fmla="*/ 311839 h 3105260"/>
              <a:gd name="connsiteX1922" fmla="*/ 663848 w 3105279"/>
              <a:gd name="connsiteY1922" fmla="*/ 315185 h 3105260"/>
              <a:gd name="connsiteX1923" fmla="*/ 2425769 w 3105279"/>
              <a:gd name="connsiteY1923" fmla="*/ 304025 h 3105260"/>
              <a:gd name="connsiteX1924" fmla="*/ 2421062 w 3105279"/>
              <a:gd name="connsiteY1924" fmla="*/ 300753 h 3105260"/>
              <a:gd name="connsiteX1925" fmla="*/ 2437553 w 3105279"/>
              <a:gd name="connsiteY1925" fmla="*/ 276926 h 3105260"/>
              <a:gd name="connsiteX1926" fmla="*/ 2442351 w 3105279"/>
              <a:gd name="connsiteY1926" fmla="*/ 280254 h 3105260"/>
              <a:gd name="connsiteX1927" fmla="*/ 2425769 w 3105279"/>
              <a:gd name="connsiteY1927" fmla="*/ 304007 h 3105260"/>
              <a:gd name="connsiteX1928" fmla="*/ 680265 w 3105279"/>
              <a:gd name="connsiteY1928" fmla="*/ 303584 h 3105260"/>
              <a:gd name="connsiteX1929" fmla="*/ 663701 w 3105279"/>
              <a:gd name="connsiteY1929" fmla="*/ 279813 h 3105260"/>
              <a:gd name="connsiteX1930" fmla="*/ 668518 w 3105279"/>
              <a:gd name="connsiteY1930" fmla="*/ 276467 h 3105260"/>
              <a:gd name="connsiteX1931" fmla="*/ 684990 w 3105279"/>
              <a:gd name="connsiteY1931" fmla="*/ 300312 h 3105260"/>
              <a:gd name="connsiteX1932" fmla="*/ 680265 w 3105279"/>
              <a:gd name="connsiteY1932" fmla="*/ 303584 h 3105260"/>
              <a:gd name="connsiteX1933" fmla="*/ 2409241 w 3105279"/>
              <a:gd name="connsiteY1933" fmla="*/ 292645 h 3105260"/>
              <a:gd name="connsiteX1934" fmla="*/ 2404479 w 3105279"/>
              <a:gd name="connsiteY1934" fmla="*/ 289428 h 3105260"/>
              <a:gd name="connsiteX1935" fmla="*/ 2420658 w 3105279"/>
              <a:gd name="connsiteY1935" fmla="*/ 265399 h 3105260"/>
              <a:gd name="connsiteX1936" fmla="*/ 2425493 w 3105279"/>
              <a:gd name="connsiteY1936" fmla="*/ 268672 h 3105260"/>
              <a:gd name="connsiteX1937" fmla="*/ 2409222 w 3105279"/>
              <a:gd name="connsiteY1937" fmla="*/ 292645 h 3105260"/>
              <a:gd name="connsiteX1938" fmla="*/ 696848 w 3105279"/>
              <a:gd name="connsiteY1938" fmla="*/ 292204 h 3105260"/>
              <a:gd name="connsiteX1939" fmla="*/ 680596 w 3105279"/>
              <a:gd name="connsiteY1939" fmla="*/ 268212 h 3105260"/>
              <a:gd name="connsiteX1940" fmla="*/ 685450 w 3105279"/>
              <a:gd name="connsiteY1940" fmla="*/ 264940 h 3105260"/>
              <a:gd name="connsiteX1941" fmla="*/ 701610 w 3105279"/>
              <a:gd name="connsiteY1941" fmla="*/ 288987 h 3105260"/>
              <a:gd name="connsiteX1942" fmla="*/ 696848 w 3105279"/>
              <a:gd name="connsiteY1942" fmla="*/ 292204 h 3105260"/>
              <a:gd name="connsiteX1943" fmla="*/ 2392566 w 3105279"/>
              <a:gd name="connsiteY1943" fmla="*/ 281486 h 3105260"/>
              <a:gd name="connsiteX1944" fmla="*/ 2387768 w 3105279"/>
              <a:gd name="connsiteY1944" fmla="*/ 278342 h 3105260"/>
              <a:gd name="connsiteX1945" fmla="*/ 2403634 w 3105279"/>
              <a:gd name="connsiteY1945" fmla="*/ 254093 h 3105260"/>
              <a:gd name="connsiteX1946" fmla="*/ 2408524 w 3105279"/>
              <a:gd name="connsiteY1946" fmla="*/ 257292 h 3105260"/>
              <a:gd name="connsiteX1947" fmla="*/ 2392566 w 3105279"/>
              <a:gd name="connsiteY1947" fmla="*/ 281486 h 3105260"/>
              <a:gd name="connsiteX1948" fmla="*/ 713578 w 3105279"/>
              <a:gd name="connsiteY1948" fmla="*/ 281045 h 3105260"/>
              <a:gd name="connsiteX1949" fmla="*/ 697657 w 3105279"/>
              <a:gd name="connsiteY1949" fmla="*/ 256851 h 3105260"/>
              <a:gd name="connsiteX1950" fmla="*/ 702547 w 3105279"/>
              <a:gd name="connsiteY1950" fmla="*/ 253633 h 3105260"/>
              <a:gd name="connsiteX1951" fmla="*/ 718395 w 3105279"/>
              <a:gd name="connsiteY1951" fmla="*/ 277901 h 3105260"/>
              <a:gd name="connsiteX1952" fmla="*/ 713596 w 3105279"/>
              <a:gd name="connsiteY1952" fmla="*/ 281045 h 3105260"/>
              <a:gd name="connsiteX1953" fmla="*/ 2375726 w 3105279"/>
              <a:gd name="connsiteY1953" fmla="*/ 270547 h 3105260"/>
              <a:gd name="connsiteX1954" fmla="*/ 2370891 w 3105279"/>
              <a:gd name="connsiteY1954" fmla="*/ 267458 h 3105260"/>
              <a:gd name="connsiteX1955" fmla="*/ 2386426 w 3105279"/>
              <a:gd name="connsiteY1955" fmla="*/ 243007 h 3105260"/>
              <a:gd name="connsiteX1956" fmla="*/ 2391353 w 3105279"/>
              <a:gd name="connsiteY1956" fmla="*/ 246151 h 3105260"/>
              <a:gd name="connsiteX1957" fmla="*/ 2375726 w 3105279"/>
              <a:gd name="connsiteY1957" fmla="*/ 270547 h 3105260"/>
              <a:gd name="connsiteX1958" fmla="*/ 730437 w 3105279"/>
              <a:gd name="connsiteY1958" fmla="*/ 270106 h 3105260"/>
              <a:gd name="connsiteX1959" fmla="*/ 714828 w 3105279"/>
              <a:gd name="connsiteY1959" fmla="*/ 245691 h 3105260"/>
              <a:gd name="connsiteX1960" fmla="*/ 719774 w 3105279"/>
              <a:gd name="connsiteY1960" fmla="*/ 242547 h 3105260"/>
              <a:gd name="connsiteX1961" fmla="*/ 735290 w 3105279"/>
              <a:gd name="connsiteY1961" fmla="*/ 267017 h 3105260"/>
              <a:gd name="connsiteX1962" fmla="*/ 730437 w 3105279"/>
              <a:gd name="connsiteY1962" fmla="*/ 270106 h 3105260"/>
              <a:gd name="connsiteX1963" fmla="*/ 2358757 w 3105279"/>
              <a:gd name="connsiteY1963" fmla="*/ 259829 h 3105260"/>
              <a:gd name="connsiteX1964" fmla="*/ 2353885 w 3105279"/>
              <a:gd name="connsiteY1964" fmla="*/ 256814 h 3105260"/>
              <a:gd name="connsiteX1965" fmla="*/ 2369107 w 3105279"/>
              <a:gd name="connsiteY1965" fmla="*/ 232160 h 3105260"/>
              <a:gd name="connsiteX1966" fmla="*/ 2374071 w 3105279"/>
              <a:gd name="connsiteY1966" fmla="*/ 235230 h 3105260"/>
              <a:gd name="connsiteX1967" fmla="*/ 2358757 w 3105279"/>
              <a:gd name="connsiteY1967" fmla="*/ 259829 h 3105260"/>
              <a:gd name="connsiteX1968" fmla="*/ 747461 w 3105279"/>
              <a:gd name="connsiteY1968" fmla="*/ 259388 h 3105260"/>
              <a:gd name="connsiteX1969" fmla="*/ 732183 w 3105279"/>
              <a:gd name="connsiteY1969" fmla="*/ 234771 h 3105260"/>
              <a:gd name="connsiteX1970" fmla="*/ 737166 w 3105279"/>
              <a:gd name="connsiteY1970" fmla="*/ 231700 h 3105260"/>
              <a:gd name="connsiteX1971" fmla="*/ 752370 w 3105279"/>
              <a:gd name="connsiteY1971" fmla="*/ 256373 h 3105260"/>
              <a:gd name="connsiteX1972" fmla="*/ 747479 w 3105279"/>
              <a:gd name="connsiteY1972" fmla="*/ 259406 h 3105260"/>
              <a:gd name="connsiteX1973" fmla="*/ 2341641 w 3105279"/>
              <a:gd name="connsiteY1973" fmla="*/ 249331 h 3105260"/>
              <a:gd name="connsiteX1974" fmla="*/ 2336732 w 3105279"/>
              <a:gd name="connsiteY1974" fmla="*/ 246371 h 3105260"/>
              <a:gd name="connsiteX1975" fmla="*/ 2351624 w 3105279"/>
              <a:gd name="connsiteY1975" fmla="*/ 221515 h 3105260"/>
              <a:gd name="connsiteX1976" fmla="*/ 2356624 w 3105279"/>
              <a:gd name="connsiteY1976" fmla="*/ 224530 h 3105260"/>
              <a:gd name="connsiteX1977" fmla="*/ 2341641 w 3105279"/>
              <a:gd name="connsiteY1977" fmla="*/ 249331 h 3105260"/>
              <a:gd name="connsiteX1978" fmla="*/ 764614 w 3105279"/>
              <a:gd name="connsiteY1978" fmla="*/ 248890 h 3105260"/>
              <a:gd name="connsiteX1979" fmla="*/ 749649 w 3105279"/>
              <a:gd name="connsiteY1979" fmla="*/ 224071 h 3105260"/>
              <a:gd name="connsiteX1980" fmla="*/ 754668 w 3105279"/>
              <a:gd name="connsiteY1980" fmla="*/ 221056 h 3105260"/>
              <a:gd name="connsiteX1981" fmla="*/ 769522 w 3105279"/>
              <a:gd name="connsiteY1981" fmla="*/ 245930 h 3105260"/>
              <a:gd name="connsiteX1982" fmla="*/ 764595 w 3105279"/>
              <a:gd name="connsiteY1982" fmla="*/ 248890 h 3105260"/>
              <a:gd name="connsiteX1983" fmla="*/ 2324378 w 3105279"/>
              <a:gd name="connsiteY1983" fmla="*/ 239073 h 3105260"/>
              <a:gd name="connsiteX1984" fmla="*/ 2319432 w 3105279"/>
              <a:gd name="connsiteY1984" fmla="*/ 236186 h 3105260"/>
              <a:gd name="connsiteX1985" fmla="*/ 2333993 w 3105279"/>
              <a:gd name="connsiteY1985" fmla="*/ 211128 h 3105260"/>
              <a:gd name="connsiteX1986" fmla="*/ 2339049 w 3105279"/>
              <a:gd name="connsiteY1986" fmla="*/ 214088 h 3105260"/>
              <a:gd name="connsiteX1987" fmla="*/ 2324396 w 3105279"/>
              <a:gd name="connsiteY1987" fmla="*/ 239073 h 3105260"/>
              <a:gd name="connsiteX1988" fmla="*/ 781895 w 3105279"/>
              <a:gd name="connsiteY1988" fmla="*/ 238613 h 3105260"/>
              <a:gd name="connsiteX1989" fmla="*/ 767261 w 3105279"/>
              <a:gd name="connsiteY1989" fmla="*/ 213610 h 3105260"/>
              <a:gd name="connsiteX1990" fmla="*/ 772317 w 3105279"/>
              <a:gd name="connsiteY1990" fmla="*/ 210669 h 3105260"/>
              <a:gd name="connsiteX1991" fmla="*/ 786859 w 3105279"/>
              <a:gd name="connsiteY1991" fmla="*/ 235727 h 3105260"/>
              <a:gd name="connsiteX1992" fmla="*/ 781895 w 3105279"/>
              <a:gd name="connsiteY1992" fmla="*/ 238613 h 3105260"/>
              <a:gd name="connsiteX1993" fmla="*/ 2306986 w 3105279"/>
              <a:gd name="connsiteY1993" fmla="*/ 229016 h 3105260"/>
              <a:gd name="connsiteX1994" fmla="*/ 2302004 w 3105279"/>
              <a:gd name="connsiteY1994" fmla="*/ 226203 h 3105260"/>
              <a:gd name="connsiteX1995" fmla="*/ 2316233 w 3105279"/>
              <a:gd name="connsiteY1995" fmla="*/ 200961 h 3105260"/>
              <a:gd name="connsiteX1996" fmla="*/ 2321326 w 3105279"/>
              <a:gd name="connsiteY1996" fmla="*/ 203848 h 3105260"/>
              <a:gd name="connsiteX1997" fmla="*/ 2306986 w 3105279"/>
              <a:gd name="connsiteY1997" fmla="*/ 229016 h 3105260"/>
              <a:gd name="connsiteX1998" fmla="*/ 799324 w 3105279"/>
              <a:gd name="connsiteY1998" fmla="*/ 228575 h 3105260"/>
              <a:gd name="connsiteX1999" fmla="*/ 785021 w 3105279"/>
              <a:gd name="connsiteY1999" fmla="*/ 203370 h 3105260"/>
              <a:gd name="connsiteX2000" fmla="*/ 790113 w 3105279"/>
              <a:gd name="connsiteY2000" fmla="*/ 200483 h 3105260"/>
              <a:gd name="connsiteX2001" fmla="*/ 804324 w 3105279"/>
              <a:gd name="connsiteY2001" fmla="*/ 225725 h 3105260"/>
              <a:gd name="connsiteX2002" fmla="*/ 799324 w 3105279"/>
              <a:gd name="connsiteY2002" fmla="*/ 228557 h 3105260"/>
              <a:gd name="connsiteX2003" fmla="*/ 2289465 w 3105279"/>
              <a:gd name="connsiteY2003" fmla="*/ 219217 h 3105260"/>
              <a:gd name="connsiteX2004" fmla="*/ 2284428 w 3105279"/>
              <a:gd name="connsiteY2004" fmla="*/ 216460 h 3105260"/>
              <a:gd name="connsiteX2005" fmla="*/ 2298327 w 3105279"/>
              <a:gd name="connsiteY2005" fmla="*/ 191034 h 3105260"/>
              <a:gd name="connsiteX2006" fmla="*/ 2303456 w 3105279"/>
              <a:gd name="connsiteY2006" fmla="*/ 193847 h 3105260"/>
              <a:gd name="connsiteX2007" fmla="*/ 2289465 w 3105279"/>
              <a:gd name="connsiteY2007" fmla="*/ 219217 h 3105260"/>
              <a:gd name="connsiteX2008" fmla="*/ 816881 w 3105279"/>
              <a:gd name="connsiteY2008" fmla="*/ 218758 h 3105260"/>
              <a:gd name="connsiteX2009" fmla="*/ 802890 w 3105279"/>
              <a:gd name="connsiteY2009" fmla="*/ 193387 h 3105260"/>
              <a:gd name="connsiteX2010" fmla="*/ 808001 w 3105279"/>
              <a:gd name="connsiteY2010" fmla="*/ 190574 h 3105260"/>
              <a:gd name="connsiteX2011" fmla="*/ 821882 w 3105279"/>
              <a:gd name="connsiteY2011" fmla="*/ 216000 h 3105260"/>
              <a:gd name="connsiteX2012" fmla="*/ 816863 w 3105279"/>
              <a:gd name="connsiteY2012" fmla="*/ 218739 h 3105260"/>
              <a:gd name="connsiteX2013" fmla="*/ 2271816 w 3105279"/>
              <a:gd name="connsiteY2013" fmla="*/ 209639 h 3105260"/>
              <a:gd name="connsiteX2014" fmla="*/ 2266761 w 3105279"/>
              <a:gd name="connsiteY2014" fmla="*/ 206936 h 3105260"/>
              <a:gd name="connsiteX2015" fmla="*/ 2280310 w 3105279"/>
              <a:gd name="connsiteY2015" fmla="*/ 181327 h 3105260"/>
              <a:gd name="connsiteX2016" fmla="*/ 2285476 w 3105279"/>
              <a:gd name="connsiteY2016" fmla="*/ 184066 h 3105260"/>
              <a:gd name="connsiteX2017" fmla="*/ 2271816 w 3105279"/>
              <a:gd name="connsiteY2017" fmla="*/ 209621 h 3105260"/>
              <a:gd name="connsiteX2018" fmla="*/ 834493 w 3105279"/>
              <a:gd name="connsiteY2018" fmla="*/ 209198 h 3105260"/>
              <a:gd name="connsiteX2019" fmla="*/ 820852 w 3105279"/>
              <a:gd name="connsiteY2019" fmla="*/ 183643 h 3105260"/>
              <a:gd name="connsiteX2020" fmla="*/ 826000 w 3105279"/>
              <a:gd name="connsiteY2020" fmla="*/ 180904 h 3105260"/>
              <a:gd name="connsiteX2021" fmla="*/ 839549 w 3105279"/>
              <a:gd name="connsiteY2021" fmla="*/ 206514 h 3105260"/>
              <a:gd name="connsiteX2022" fmla="*/ 834493 w 3105279"/>
              <a:gd name="connsiteY2022" fmla="*/ 209198 h 3105260"/>
              <a:gd name="connsiteX2023" fmla="*/ 2254039 w 3105279"/>
              <a:gd name="connsiteY2023" fmla="*/ 200281 h 3105260"/>
              <a:gd name="connsiteX2024" fmla="*/ 2248928 w 3105279"/>
              <a:gd name="connsiteY2024" fmla="*/ 197652 h 3105260"/>
              <a:gd name="connsiteX2025" fmla="*/ 2262146 w 3105279"/>
              <a:gd name="connsiteY2025" fmla="*/ 171877 h 3105260"/>
              <a:gd name="connsiteX2026" fmla="*/ 2267349 w 3105279"/>
              <a:gd name="connsiteY2026" fmla="*/ 174561 h 3105260"/>
              <a:gd name="connsiteX2027" fmla="*/ 2254039 w 3105279"/>
              <a:gd name="connsiteY2027" fmla="*/ 200300 h 3105260"/>
              <a:gd name="connsiteX2028" fmla="*/ 852253 w 3105279"/>
              <a:gd name="connsiteY2028" fmla="*/ 199858 h 3105260"/>
              <a:gd name="connsiteX2029" fmla="*/ 838942 w 3105279"/>
              <a:gd name="connsiteY2029" fmla="*/ 174120 h 3105260"/>
              <a:gd name="connsiteX2030" fmla="*/ 844145 w 3105279"/>
              <a:gd name="connsiteY2030" fmla="*/ 171436 h 3105260"/>
              <a:gd name="connsiteX2031" fmla="*/ 857364 w 3105279"/>
              <a:gd name="connsiteY2031" fmla="*/ 197211 h 3105260"/>
              <a:gd name="connsiteX2032" fmla="*/ 852253 w 3105279"/>
              <a:gd name="connsiteY2032" fmla="*/ 199840 h 3105260"/>
              <a:gd name="connsiteX2033" fmla="*/ 2236132 w 3105279"/>
              <a:gd name="connsiteY2033" fmla="*/ 191163 h 3105260"/>
              <a:gd name="connsiteX2034" fmla="*/ 2231003 w 3105279"/>
              <a:gd name="connsiteY2034" fmla="*/ 188607 h 3105260"/>
              <a:gd name="connsiteX2035" fmla="*/ 2243890 w 3105279"/>
              <a:gd name="connsiteY2035" fmla="*/ 162648 h 3105260"/>
              <a:gd name="connsiteX2036" fmla="*/ 2249130 w 3105279"/>
              <a:gd name="connsiteY2036" fmla="*/ 165259 h 3105260"/>
              <a:gd name="connsiteX2037" fmla="*/ 2236150 w 3105279"/>
              <a:gd name="connsiteY2037" fmla="*/ 191163 h 3105260"/>
              <a:gd name="connsiteX2038" fmla="*/ 870178 w 3105279"/>
              <a:gd name="connsiteY2038" fmla="*/ 190740 h 3105260"/>
              <a:gd name="connsiteX2039" fmla="*/ 857198 w 3105279"/>
              <a:gd name="connsiteY2039" fmla="*/ 164836 h 3105260"/>
              <a:gd name="connsiteX2040" fmla="*/ 858871 w 3105279"/>
              <a:gd name="connsiteY2040" fmla="*/ 163990 h 3105260"/>
              <a:gd name="connsiteX2041" fmla="*/ 864129 w 3105279"/>
              <a:gd name="connsiteY2041" fmla="*/ 161380 h 3105260"/>
              <a:gd name="connsiteX2042" fmla="*/ 876980 w 3105279"/>
              <a:gd name="connsiteY2042" fmla="*/ 187357 h 3105260"/>
              <a:gd name="connsiteX2043" fmla="*/ 871832 w 3105279"/>
              <a:gd name="connsiteY2043" fmla="*/ 189912 h 3105260"/>
              <a:gd name="connsiteX2044" fmla="*/ 870178 w 3105279"/>
              <a:gd name="connsiteY2044" fmla="*/ 190740 h 3105260"/>
              <a:gd name="connsiteX2045" fmla="*/ 2218115 w 3105279"/>
              <a:gd name="connsiteY2045" fmla="*/ 182283 h 3105260"/>
              <a:gd name="connsiteX2046" fmla="*/ 2212949 w 3105279"/>
              <a:gd name="connsiteY2046" fmla="*/ 179782 h 3105260"/>
              <a:gd name="connsiteX2047" fmla="*/ 2225487 w 3105279"/>
              <a:gd name="connsiteY2047" fmla="*/ 153658 h 3105260"/>
              <a:gd name="connsiteX2048" fmla="*/ 2230764 w 3105279"/>
              <a:gd name="connsiteY2048" fmla="*/ 156195 h 3105260"/>
              <a:gd name="connsiteX2049" fmla="*/ 2218115 w 3105279"/>
              <a:gd name="connsiteY2049" fmla="*/ 182264 h 3105260"/>
              <a:gd name="connsiteX2050" fmla="*/ 889923 w 3105279"/>
              <a:gd name="connsiteY2050" fmla="*/ 181014 h 3105260"/>
              <a:gd name="connsiteX2051" fmla="*/ 877311 w 3105279"/>
              <a:gd name="connsiteY2051" fmla="*/ 154927 h 3105260"/>
              <a:gd name="connsiteX2052" fmla="*/ 882606 w 3105279"/>
              <a:gd name="connsiteY2052" fmla="*/ 152371 h 3105260"/>
              <a:gd name="connsiteX2053" fmla="*/ 895126 w 3105279"/>
              <a:gd name="connsiteY2053" fmla="*/ 178514 h 3105260"/>
              <a:gd name="connsiteX2054" fmla="*/ 889941 w 3105279"/>
              <a:gd name="connsiteY2054" fmla="*/ 181014 h 3105260"/>
              <a:gd name="connsiteX2055" fmla="*/ 2199970 w 3105279"/>
              <a:gd name="connsiteY2055" fmla="*/ 173642 h 3105260"/>
              <a:gd name="connsiteX2056" fmla="*/ 2194767 w 3105279"/>
              <a:gd name="connsiteY2056" fmla="*/ 171215 h 3105260"/>
              <a:gd name="connsiteX2057" fmla="*/ 2206956 w 3105279"/>
              <a:gd name="connsiteY2057" fmla="*/ 144925 h 3105260"/>
              <a:gd name="connsiteX2058" fmla="*/ 2212250 w 3105279"/>
              <a:gd name="connsiteY2058" fmla="*/ 147389 h 3105260"/>
              <a:gd name="connsiteX2059" fmla="*/ 2199951 w 3105279"/>
              <a:gd name="connsiteY2059" fmla="*/ 173624 h 3105260"/>
              <a:gd name="connsiteX2060" fmla="*/ 908123 w 3105279"/>
              <a:gd name="connsiteY2060" fmla="*/ 172355 h 3105260"/>
              <a:gd name="connsiteX2061" fmla="*/ 895861 w 3105279"/>
              <a:gd name="connsiteY2061" fmla="*/ 146102 h 3105260"/>
              <a:gd name="connsiteX2062" fmla="*/ 901174 w 3105279"/>
              <a:gd name="connsiteY2062" fmla="*/ 143620 h 3105260"/>
              <a:gd name="connsiteX2063" fmla="*/ 913363 w 3105279"/>
              <a:gd name="connsiteY2063" fmla="*/ 169910 h 3105260"/>
              <a:gd name="connsiteX2064" fmla="*/ 908142 w 3105279"/>
              <a:gd name="connsiteY2064" fmla="*/ 172337 h 3105260"/>
              <a:gd name="connsiteX2065" fmla="*/ 2181732 w 3105279"/>
              <a:gd name="connsiteY2065" fmla="*/ 165222 h 3105260"/>
              <a:gd name="connsiteX2066" fmla="*/ 2176492 w 3105279"/>
              <a:gd name="connsiteY2066" fmla="*/ 162869 h 3105260"/>
              <a:gd name="connsiteX2067" fmla="*/ 2188350 w 3105279"/>
              <a:gd name="connsiteY2067" fmla="*/ 136432 h 3105260"/>
              <a:gd name="connsiteX2068" fmla="*/ 2193682 w 3105279"/>
              <a:gd name="connsiteY2068" fmla="*/ 138840 h 3105260"/>
              <a:gd name="connsiteX2069" fmla="*/ 2181732 w 3105279"/>
              <a:gd name="connsiteY2069" fmla="*/ 165240 h 3105260"/>
              <a:gd name="connsiteX2070" fmla="*/ 926453 w 3105279"/>
              <a:gd name="connsiteY2070" fmla="*/ 163935 h 3105260"/>
              <a:gd name="connsiteX2071" fmla="*/ 914521 w 3105279"/>
              <a:gd name="connsiteY2071" fmla="*/ 137535 h 3105260"/>
              <a:gd name="connsiteX2072" fmla="*/ 919871 w 3105279"/>
              <a:gd name="connsiteY2072" fmla="*/ 135126 h 3105260"/>
              <a:gd name="connsiteX2073" fmla="*/ 931692 w 3105279"/>
              <a:gd name="connsiteY2073" fmla="*/ 161582 h 3105260"/>
              <a:gd name="connsiteX2074" fmla="*/ 926435 w 3105279"/>
              <a:gd name="connsiteY2074" fmla="*/ 163935 h 3105260"/>
              <a:gd name="connsiteX2075" fmla="*/ 2163366 w 3105279"/>
              <a:gd name="connsiteY2075" fmla="*/ 157059 h 3105260"/>
              <a:gd name="connsiteX2076" fmla="*/ 2158108 w 3105279"/>
              <a:gd name="connsiteY2076" fmla="*/ 154761 h 3105260"/>
              <a:gd name="connsiteX2077" fmla="*/ 2169617 w 3105279"/>
              <a:gd name="connsiteY2077" fmla="*/ 128177 h 3105260"/>
              <a:gd name="connsiteX2078" fmla="*/ 2174985 w 3105279"/>
              <a:gd name="connsiteY2078" fmla="*/ 130512 h 3105260"/>
              <a:gd name="connsiteX2079" fmla="*/ 2163384 w 3105279"/>
              <a:gd name="connsiteY2079" fmla="*/ 157059 h 3105260"/>
              <a:gd name="connsiteX2080" fmla="*/ 944874 w 3105279"/>
              <a:gd name="connsiteY2080" fmla="*/ 155754 h 3105260"/>
              <a:gd name="connsiteX2081" fmla="*/ 933292 w 3105279"/>
              <a:gd name="connsiteY2081" fmla="*/ 129188 h 3105260"/>
              <a:gd name="connsiteX2082" fmla="*/ 938679 w 3105279"/>
              <a:gd name="connsiteY2082" fmla="*/ 126853 h 3105260"/>
              <a:gd name="connsiteX2083" fmla="*/ 950169 w 3105279"/>
              <a:gd name="connsiteY2083" fmla="*/ 153456 h 3105260"/>
              <a:gd name="connsiteX2084" fmla="*/ 944874 w 3105279"/>
              <a:gd name="connsiteY2084" fmla="*/ 155754 h 3105260"/>
              <a:gd name="connsiteX2085" fmla="*/ 2144889 w 3105279"/>
              <a:gd name="connsiteY2085" fmla="*/ 149135 h 3105260"/>
              <a:gd name="connsiteX2086" fmla="*/ 2139595 w 3105279"/>
              <a:gd name="connsiteY2086" fmla="*/ 146911 h 3105260"/>
              <a:gd name="connsiteX2087" fmla="*/ 2150754 w 3105279"/>
              <a:gd name="connsiteY2087" fmla="*/ 120161 h 3105260"/>
              <a:gd name="connsiteX2088" fmla="*/ 2156159 w 3105279"/>
              <a:gd name="connsiteY2088" fmla="*/ 122423 h 3105260"/>
              <a:gd name="connsiteX2089" fmla="*/ 2144908 w 3105279"/>
              <a:gd name="connsiteY2089" fmla="*/ 149117 h 3105260"/>
              <a:gd name="connsiteX2090" fmla="*/ 963406 w 3105279"/>
              <a:gd name="connsiteY2090" fmla="*/ 147812 h 3105260"/>
              <a:gd name="connsiteX2091" fmla="*/ 952173 w 3105279"/>
              <a:gd name="connsiteY2091" fmla="*/ 121099 h 3105260"/>
              <a:gd name="connsiteX2092" fmla="*/ 957596 w 3105279"/>
              <a:gd name="connsiteY2092" fmla="*/ 118838 h 3105260"/>
              <a:gd name="connsiteX2093" fmla="*/ 968737 w 3105279"/>
              <a:gd name="connsiteY2093" fmla="*/ 145587 h 3105260"/>
              <a:gd name="connsiteX2094" fmla="*/ 963424 w 3105279"/>
              <a:gd name="connsiteY2094" fmla="*/ 147812 h 3105260"/>
              <a:gd name="connsiteX2095" fmla="*/ 2126321 w 3105279"/>
              <a:gd name="connsiteY2095" fmla="*/ 141451 h 3105260"/>
              <a:gd name="connsiteX2096" fmla="*/ 2120989 w 3105279"/>
              <a:gd name="connsiteY2096" fmla="*/ 139300 h 3105260"/>
              <a:gd name="connsiteX2097" fmla="*/ 2131781 w 3105279"/>
              <a:gd name="connsiteY2097" fmla="*/ 112422 h 3105260"/>
              <a:gd name="connsiteX2098" fmla="*/ 2137205 w 3105279"/>
              <a:gd name="connsiteY2098" fmla="*/ 114609 h 3105260"/>
              <a:gd name="connsiteX2099" fmla="*/ 2126303 w 3105279"/>
              <a:gd name="connsiteY2099" fmla="*/ 141451 h 3105260"/>
              <a:gd name="connsiteX2100" fmla="*/ 982029 w 3105279"/>
              <a:gd name="connsiteY2100" fmla="*/ 140127 h 3105260"/>
              <a:gd name="connsiteX2101" fmla="*/ 971146 w 3105279"/>
              <a:gd name="connsiteY2101" fmla="*/ 113267 h 3105260"/>
              <a:gd name="connsiteX2102" fmla="*/ 976588 w 3105279"/>
              <a:gd name="connsiteY2102" fmla="*/ 111079 h 3105260"/>
              <a:gd name="connsiteX2103" fmla="*/ 987379 w 3105279"/>
              <a:gd name="connsiteY2103" fmla="*/ 137976 h 3105260"/>
              <a:gd name="connsiteX2104" fmla="*/ 982029 w 3105279"/>
              <a:gd name="connsiteY2104" fmla="*/ 140127 h 3105260"/>
              <a:gd name="connsiteX2105" fmla="*/ 2107642 w 3105279"/>
              <a:gd name="connsiteY2105" fmla="*/ 134005 h 3105260"/>
              <a:gd name="connsiteX2106" fmla="*/ 2102292 w 3105279"/>
              <a:gd name="connsiteY2106" fmla="*/ 131928 h 3105260"/>
              <a:gd name="connsiteX2107" fmla="*/ 2112735 w 3105279"/>
              <a:gd name="connsiteY2107" fmla="*/ 104902 h 3105260"/>
              <a:gd name="connsiteX2108" fmla="*/ 2118195 w 3105279"/>
              <a:gd name="connsiteY2108" fmla="*/ 107016 h 3105260"/>
              <a:gd name="connsiteX2109" fmla="*/ 2107642 w 3105279"/>
              <a:gd name="connsiteY2109" fmla="*/ 134005 h 3105260"/>
              <a:gd name="connsiteX2110" fmla="*/ 1000763 w 3105279"/>
              <a:gd name="connsiteY2110" fmla="*/ 132681 h 3105260"/>
              <a:gd name="connsiteX2111" fmla="*/ 990229 w 3105279"/>
              <a:gd name="connsiteY2111" fmla="*/ 105693 h 3105260"/>
              <a:gd name="connsiteX2112" fmla="*/ 995708 w 3105279"/>
              <a:gd name="connsiteY2112" fmla="*/ 103579 h 3105260"/>
              <a:gd name="connsiteX2113" fmla="*/ 1006132 w 3105279"/>
              <a:gd name="connsiteY2113" fmla="*/ 130604 h 3105260"/>
              <a:gd name="connsiteX2114" fmla="*/ 1000763 w 3105279"/>
              <a:gd name="connsiteY2114" fmla="*/ 132681 h 3105260"/>
              <a:gd name="connsiteX2115" fmla="*/ 2088872 w 3105279"/>
              <a:gd name="connsiteY2115" fmla="*/ 126817 h 3105260"/>
              <a:gd name="connsiteX2116" fmla="*/ 2083485 w 3105279"/>
              <a:gd name="connsiteY2116" fmla="*/ 124813 h 3105260"/>
              <a:gd name="connsiteX2117" fmla="*/ 2093578 w 3105279"/>
              <a:gd name="connsiteY2117" fmla="*/ 97659 h 3105260"/>
              <a:gd name="connsiteX2118" fmla="*/ 2099057 w 3105279"/>
              <a:gd name="connsiteY2118" fmla="*/ 99699 h 3105260"/>
              <a:gd name="connsiteX2119" fmla="*/ 2088853 w 3105279"/>
              <a:gd name="connsiteY2119" fmla="*/ 126817 h 3105260"/>
              <a:gd name="connsiteX2120" fmla="*/ 1019571 w 3105279"/>
              <a:gd name="connsiteY2120" fmla="*/ 125493 h 3105260"/>
              <a:gd name="connsiteX2121" fmla="*/ 1009404 w 3105279"/>
              <a:gd name="connsiteY2121" fmla="*/ 98357 h 3105260"/>
              <a:gd name="connsiteX2122" fmla="*/ 1014901 w 3105279"/>
              <a:gd name="connsiteY2122" fmla="*/ 96298 h 3105260"/>
              <a:gd name="connsiteX2123" fmla="*/ 1024957 w 3105279"/>
              <a:gd name="connsiteY2123" fmla="*/ 123471 h 3105260"/>
              <a:gd name="connsiteX2124" fmla="*/ 1019571 w 3105279"/>
              <a:gd name="connsiteY2124" fmla="*/ 125475 h 3105260"/>
              <a:gd name="connsiteX2125" fmla="*/ 2070009 w 3105279"/>
              <a:gd name="connsiteY2125" fmla="*/ 119867 h 3105260"/>
              <a:gd name="connsiteX2126" fmla="*/ 2064604 w 3105279"/>
              <a:gd name="connsiteY2126" fmla="*/ 117937 h 3105260"/>
              <a:gd name="connsiteX2127" fmla="*/ 2074330 w 3105279"/>
              <a:gd name="connsiteY2127" fmla="*/ 90654 h 3105260"/>
              <a:gd name="connsiteX2128" fmla="*/ 2079845 w 3105279"/>
              <a:gd name="connsiteY2128" fmla="*/ 92621 h 3105260"/>
              <a:gd name="connsiteX2129" fmla="*/ 2070009 w 3105279"/>
              <a:gd name="connsiteY2129" fmla="*/ 119867 h 3105260"/>
              <a:gd name="connsiteX2130" fmla="*/ 1038488 w 3105279"/>
              <a:gd name="connsiteY2130" fmla="*/ 118544 h 3105260"/>
              <a:gd name="connsiteX2131" fmla="*/ 1028671 w 3105279"/>
              <a:gd name="connsiteY2131" fmla="*/ 91279 h 3105260"/>
              <a:gd name="connsiteX2132" fmla="*/ 1034205 w 3105279"/>
              <a:gd name="connsiteY2132" fmla="*/ 89294 h 3105260"/>
              <a:gd name="connsiteX2133" fmla="*/ 1043912 w 3105279"/>
              <a:gd name="connsiteY2133" fmla="*/ 116595 h 3105260"/>
              <a:gd name="connsiteX2134" fmla="*/ 1038488 w 3105279"/>
              <a:gd name="connsiteY2134" fmla="*/ 118525 h 3105260"/>
              <a:gd name="connsiteX2135" fmla="*/ 2051055 w 3105279"/>
              <a:gd name="connsiteY2135" fmla="*/ 113157 h 3105260"/>
              <a:gd name="connsiteX2136" fmla="*/ 2045631 w 3105279"/>
              <a:gd name="connsiteY2136" fmla="*/ 111282 h 3105260"/>
              <a:gd name="connsiteX2137" fmla="*/ 2055007 w 3105279"/>
              <a:gd name="connsiteY2137" fmla="*/ 83870 h 3105260"/>
              <a:gd name="connsiteX2138" fmla="*/ 2060559 w 3105279"/>
              <a:gd name="connsiteY2138" fmla="*/ 85782 h 3105260"/>
              <a:gd name="connsiteX2139" fmla="*/ 2051073 w 3105279"/>
              <a:gd name="connsiteY2139" fmla="*/ 113157 h 3105260"/>
              <a:gd name="connsiteX2140" fmla="*/ 1057498 w 3105279"/>
              <a:gd name="connsiteY2140" fmla="*/ 111833 h 3105260"/>
              <a:gd name="connsiteX2141" fmla="*/ 1048048 w 3105279"/>
              <a:gd name="connsiteY2141" fmla="*/ 84440 h 3105260"/>
              <a:gd name="connsiteX2142" fmla="*/ 1053600 w 3105279"/>
              <a:gd name="connsiteY2142" fmla="*/ 82528 h 3105260"/>
              <a:gd name="connsiteX2143" fmla="*/ 1062940 w 3105279"/>
              <a:gd name="connsiteY2143" fmla="*/ 109958 h 3105260"/>
              <a:gd name="connsiteX2144" fmla="*/ 1057498 w 3105279"/>
              <a:gd name="connsiteY2144" fmla="*/ 111833 h 3105260"/>
              <a:gd name="connsiteX2145" fmla="*/ 2032008 w 3105279"/>
              <a:gd name="connsiteY2145" fmla="*/ 106704 h 3105260"/>
              <a:gd name="connsiteX2146" fmla="*/ 2026566 w 3105279"/>
              <a:gd name="connsiteY2146" fmla="*/ 104902 h 3105260"/>
              <a:gd name="connsiteX2147" fmla="*/ 2035575 w 3105279"/>
              <a:gd name="connsiteY2147" fmla="*/ 77362 h 3105260"/>
              <a:gd name="connsiteX2148" fmla="*/ 2041145 w 3105279"/>
              <a:gd name="connsiteY2148" fmla="*/ 79201 h 3105260"/>
              <a:gd name="connsiteX2149" fmla="*/ 2032008 w 3105279"/>
              <a:gd name="connsiteY2149" fmla="*/ 106704 h 3105260"/>
              <a:gd name="connsiteX2150" fmla="*/ 1076581 w 3105279"/>
              <a:gd name="connsiteY2150" fmla="*/ 105399 h 3105260"/>
              <a:gd name="connsiteX2151" fmla="*/ 1067499 w 3105279"/>
              <a:gd name="connsiteY2151" fmla="*/ 77877 h 3105260"/>
              <a:gd name="connsiteX2152" fmla="*/ 1073070 w 3105279"/>
              <a:gd name="connsiteY2152" fmla="*/ 76057 h 3105260"/>
              <a:gd name="connsiteX2153" fmla="*/ 1082060 w 3105279"/>
              <a:gd name="connsiteY2153" fmla="*/ 103597 h 3105260"/>
              <a:gd name="connsiteX2154" fmla="*/ 1076581 w 3105279"/>
              <a:gd name="connsiteY2154" fmla="*/ 105399 h 3105260"/>
              <a:gd name="connsiteX2155" fmla="*/ 2012888 w 3105279"/>
              <a:gd name="connsiteY2155" fmla="*/ 100508 h 3105260"/>
              <a:gd name="connsiteX2156" fmla="*/ 2007410 w 3105279"/>
              <a:gd name="connsiteY2156" fmla="*/ 98780 h 3105260"/>
              <a:gd name="connsiteX2157" fmla="*/ 2016069 w 3105279"/>
              <a:gd name="connsiteY2157" fmla="*/ 71130 h 3105260"/>
              <a:gd name="connsiteX2158" fmla="*/ 2021658 w 3105279"/>
              <a:gd name="connsiteY2158" fmla="*/ 72895 h 3105260"/>
              <a:gd name="connsiteX2159" fmla="*/ 2012888 w 3105279"/>
              <a:gd name="connsiteY2159" fmla="*/ 100508 h 3105260"/>
              <a:gd name="connsiteX2160" fmla="*/ 1095738 w 3105279"/>
              <a:gd name="connsiteY2160" fmla="*/ 99203 h 3105260"/>
              <a:gd name="connsiteX2161" fmla="*/ 1087024 w 3105279"/>
              <a:gd name="connsiteY2161" fmla="*/ 71571 h 3105260"/>
              <a:gd name="connsiteX2162" fmla="*/ 1092631 w 3105279"/>
              <a:gd name="connsiteY2162" fmla="*/ 69806 h 3105260"/>
              <a:gd name="connsiteX2163" fmla="*/ 1101235 w 3105279"/>
              <a:gd name="connsiteY2163" fmla="*/ 97475 h 3105260"/>
              <a:gd name="connsiteX2164" fmla="*/ 1095756 w 3105279"/>
              <a:gd name="connsiteY2164" fmla="*/ 99185 h 3105260"/>
              <a:gd name="connsiteX2165" fmla="*/ 1993676 w 3105279"/>
              <a:gd name="connsiteY2165" fmla="*/ 94552 h 3105260"/>
              <a:gd name="connsiteX2166" fmla="*/ 1988179 w 3105279"/>
              <a:gd name="connsiteY2166" fmla="*/ 92897 h 3105260"/>
              <a:gd name="connsiteX2167" fmla="*/ 1996471 w 3105279"/>
              <a:gd name="connsiteY2167" fmla="*/ 65136 h 3105260"/>
              <a:gd name="connsiteX2168" fmla="*/ 2002078 w 3105279"/>
              <a:gd name="connsiteY2168" fmla="*/ 66828 h 3105260"/>
              <a:gd name="connsiteX2169" fmla="*/ 1993676 w 3105279"/>
              <a:gd name="connsiteY2169" fmla="*/ 94552 h 3105260"/>
              <a:gd name="connsiteX2170" fmla="*/ 1114987 w 3105279"/>
              <a:gd name="connsiteY2170" fmla="*/ 93265 h 3105260"/>
              <a:gd name="connsiteX2171" fmla="*/ 1106622 w 3105279"/>
              <a:gd name="connsiteY2171" fmla="*/ 65523 h 3105260"/>
              <a:gd name="connsiteX2172" fmla="*/ 1112247 w 3105279"/>
              <a:gd name="connsiteY2172" fmla="*/ 63850 h 3105260"/>
              <a:gd name="connsiteX2173" fmla="*/ 1120484 w 3105279"/>
              <a:gd name="connsiteY2173" fmla="*/ 91629 h 3105260"/>
              <a:gd name="connsiteX2174" fmla="*/ 1114968 w 3105279"/>
              <a:gd name="connsiteY2174" fmla="*/ 93283 h 3105260"/>
              <a:gd name="connsiteX2175" fmla="*/ 1974391 w 3105279"/>
              <a:gd name="connsiteY2175" fmla="*/ 88853 h 3105260"/>
              <a:gd name="connsiteX2176" fmla="*/ 1968857 w 3105279"/>
              <a:gd name="connsiteY2176" fmla="*/ 87271 h 3105260"/>
              <a:gd name="connsiteX2177" fmla="*/ 1976781 w 3105279"/>
              <a:gd name="connsiteY2177" fmla="*/ 59400 h 3105260"/>
              <a:gd name="connsiteX2178" fmla="*/ 1982407 w 3105279"/>
              <a:gd name="connsiteY2178" fmla="*/ 61018 h 3105260"/>
              <a:gd name="connsiteX2179" fmla="*/ 1974391 w 3105279"/>
              <a:gd name="connsiteY2179" fmla="*/ 88853 h 3105260"/>
              <a:gd name="connsiteX2180" fmla="*/ 1134309 w 3105279"/>
              <a:gd name="connsiteY2180" fmla="*/ 87584 h 3105260"/>
              <a:gd name="connsiteX2181" fmla="*/ 1126330 w 3105279"/>
              <a:gd name="connsiteY2181" fmla="*/ 59731 h 3105260"/>
              <a:gd name="connsiteX2182" fmla="*/ 1131974 w 3105279"/>
              <a:gd name="connsiteY2182" fmla="*/ 58132 h 3105260"/>
              <a:gd name="connsiteX2183" fmla="*/ 1139843 w 3105279"/>
              <a:gd name="connsiteY2183" fmla="*/ 86021 h 3105260"/>
              <a:gd name="connsiteX2184" fmla="*/ 1134309 w 3105279"/>
              <a:gd name="connsiteY2184" fmla="*/ 87602 h 3105260"/>
              <a:gd name="connsiteX2185" fmla="*/ 1955032 w 3105279"/>
              <a:gd name="connsiteY2185" fmla="*/ 83411 h 3105260"/>
              <a:gd name="connsiteX2186" fmla="*/ 1949480 w 3105279"/>
              <a:gd name="connsiteY2186" fmla="*/ 81903 h 3105260"/>
              <a:gd name="connsiteX2187" fmla="*/ 1957036 w 3105279"/>
              <a:gd name="connsiteY2187" fmla="*/ 53922 h 3105260"/>
              <a:gd name="connsiteX2188" fmla="*/ 1962698 w 3105279"/>
              <a:gd name="connsiteY2188" fmla="*/ 55466 h 3105260"/>
              <a:gd name="connsiteX2189" fmla="*/ 1955032 w 3105279"/>
              <a:gd name="connsiteY2189" fmla="*/ 83411 h 3105260"/>
              <a:gd name="connsiteX2190" fmla="*/ 1153723 w 3105279"/>
              <a:gd name="connsiteY2190" fmla="*/ 82161 h 3105260"/>
              <a:gd name="connsiteX2191" fmla="*/ 1146112 w 3105279"/>
              <a:gd name="connsiteY2191" fmla="*/ 54198 h 3105260"/>
              <a:gd name="connsiteX2192" fmla="*/ 1151774 w 3105279"/>
              <a:gd name="connsiteY2192" fmla="*/ 52672 h 3105260"/>
              <a:gd name="connsiteX2193" fmla="*/ 1159275 w 3105279"/>
              <a:gd name="connsiteY2193" fmla="*/ 80653 h 3105260"/>
              <a:gd name="connsiteX2194" fmla="*/ 1153723 w 3105279"/>
              <a:gd name="connsiteY2194" fmla="*/ 82161 h 3105260"/>
              <a:gd name="connsiteX2195" fmla="*/ 1935600 w 3105279"/>
              <a:gd name="connsiteY2195" fmla="*/ 78208 h 3105260"/>
              <a:gd name="connsiteX2196" fmla="*/ 1930029 w 3105279"/>
              <a:gd name="connsiteY2196" fmla="*/ 76774 h 3105260"/>
              <a:gd name="connsiteX2197" fmla="*/ 1937217 w 3105279"/>
              <a:gd name="connsiteY2197" fmla="*/ 48701 h 3105260"/>
              <a:gd name="connsiteX2198" fmla="*/ 1942898 w 3105279"/>
              <a:gd name="connsiteY2198" fmla="*/ 50171 h 3105260"/>
              <a:gd name="connsiteX2199" fmla="*/ 1935600 w 3105279"/>
              <a:gd name="connsiteY2199" fmla="*/ 78208 h 3105260"/>
              <a:gd name="connsiteX2200" fmla="*/ 1173174 w 3105279"/>
              <a:gd name="connsiteY2200" fmla="*/ 76994 h 3105260"/>
              <a:gd name="connsiteX2201" fmla="*/ 1165930 w 3105279"/>
              <a:gd name="connsiteY2201" fmla="*/ 48940 h 3105260"/>
              <a:gd name="connsiteX2202" fmla="*/ 1171629 w 3105279"/>
              <a:gd name="connsiteY2202" fmla="*/ 47487 h 3105260"/>
              <a:gd name="connsiteX2203" fmla="*/ 1178744 w 3105279"/>
              <a:gd name="connsiteY2203" fmla="*/ 75579 h 3105260"/>
              <a:gd name="connsiteX2204" fmla="*/ 1173174 w 3105279"/>
              <a:gd name="connsiteY2204" fmla="*/ 77013 h 3105260"/>
              <a:gd name="connsiteX2205" fmla="*/ 1916094 w 3105279"/>
              <a:gd name="connsiteY2205" fmla="*/ 73281 h 3105260"/>
              <a:gd name="connsiteX2206" fmla="*/ 1910505 w 3105279"/>
              <a:gd name="connsiteY2206" fmla="*/ 71920 h 3105260"/>
              <a:gd name="connsiteX2207" fmla="*/ 1917325 w 3105279"/>
              <a:gd name="connsiteY2207" fmla="*/ 43755 h 3105260"/>
              <a:gd name="connsiteX2208" fmla="*/ 1923006 w 3105279"/>
              <a:gd name="connsiteY2208" fmla="*/ 45152 h 3105260"/>
              <a:gd name="connsiteX2209" fmla="*/ 1916075 w 3105279"/>
              <a:gd name="connsiteY2209" fmla="*/ 73281 h 3105260"/>
              <a:gd name="connsiteX2210" fmla="*/ 1192717 w 3105279"/>
              <a:gd name="connsiteY2210" fmla="*/ 72086 h 3105260"/>
              <a:gd name="connsiteX2211" fmla="*/ 1185859 w 3105279"/>
              <a:gd name="connsiteY2211" fmla="*/ 43939 h 3105260"/>
              <a:gd name="connsiteX2212" fmla="*/ 1191558 w 3105279"/>
              <a:gd name="connsiteY2212" fmla="*/ 42560 h 3105260"/>
              <a:gd name="connsiteX2213" fmla="*/ 1198324 w 3105279"/>
              <a:gd name="connsiteY2213" fmla="*/ 70725 h 3105260"/>
              <a:gd name="connsiteX2214" fmla="*/ 1192735 w 3105279"/>
              <a:gd name="connsiteY2214" fmla="*/ 72086 h 3105260"/>
              <a:gd name="connsiteX2215" fmla="*/ 1896532 w 3105279"/>
              <a:gd name="connsiteY2215" fmla="*/ 68593 h 3105260"/>
              <a:gd name="connsiteX2216" fmla="*/ 1890925 w 3105279"/>
              <a:gd name="connsiteY2216" fmla="*/ 67306 h 3105260"/>
              <a:gd name="connsiteX2217" fmla="*/ 1897378 w 3105279"/>
              <a:gd name="connsiteY2217" fmla="*/ 39067 h 3105260"/>
              <a:gd name="connsiteX2218" fmla="*/ 1903077 w 3105279"/>
              <a:gd name="connsiteY2218" fmla="*/ 40372 h 3105260"/>
              <a:gd name="connsiteX2219" fmla="*/ 1896532 w 3105279"/>
              <a:gd name="connsiteY2219" fmla="*/ 68593 h 3105260"/>
              <a:gd name="connsiteX2220" fmla="*/ 1212314 w 3105279"/>
              <a:gd name="connsiteY2220" fmla="*/ 67453 h 3105260"/>
              <a:gd name="connsiteX2221" fmla="*/ 1205825 w 3105279"/>
              <a:gd name="connsiteY2221" fmla="*/ 39214 h 3105260"/>
              <a:gd name="connsiteX2222" fmla="*/ 1211542 w 3105279"/>
              <a:gd name="connsiteY2222" fmla="*/ 37909 h 3105260"/>
              <a:gd name="connsiteX2223" fmla="*/ 1217922 w 3105279"/>
              <a:gd name="connsiteY2223" fmla="*/ 66166 h 3105260"/>
              <a:gd name="connsiteX2224" fmla="*/ 1212314 w 3105279"/>
              <a:gd name="connsiteY2224" fmla="*/ 67435 h 3105260"/>
              <a:gd name="connsiteX2225" fmla="*/ 1876916 w 3105279"/>
              <a:gd name="connsiteY2225" fmla="*/ 64180 h 3105260"/>
              <a:gd name="connsiteX2226" fmla="*/ 1871290 w 3105279"/>
              <a:gd name="connsiteY2226" fmla="*/ 62967 h 3105260"/>
              <a:gd name="connsiteX2227" fmla="*/ 1877376 w 3105279"/>
              <a:gd name="connsiteY2227" fmla="*/ 34636 h 3105260"/>
              <a:gd name="connsiteX2228" fmla="*/ 1883093 w 3105279"/>
              <a:gd name="connsiteY2228" fmla="*/ 35868 h 3105260"/>
              <a:gd name="connsiteX2229" fmla="*/ 1876916 w 3105279"/>
              <a:gd name="connsiteY2229" fmla="*/ 64180 h 3105260"/>
              <a:gd name="connsiteX2230" fmla="*/ 1231949 w 3105279"/>
              <a:gd name="connsiteY2230" fmla="*/ 63059 h 3105260"/>
              <a:gd name="connsiteX2231" fmla="*/ 1225827 w 3105279"/>
              <a:gd name="connsiteY2231" fmla="*/ 34728 h 3105260"/>
              <a:gd name="connsiteX2232" fmla="*/ 1231563 w 3105279"/>
              <a:gd name="connsiteY2232" fmla="*/ 33497 h 3105260"/>
              <a:gd name="connsiteX2233" fmla="*/ 1237575 w 3105279"/>
              <a:gd name="connsiteY2233" fmla="*/ 61846 h 3105260"/>
              <a:gd name="connsiteX2234" fmla="*/ 1231949 w 3105279"/>
              <a:gd name="connsiteY2234" fmla="*/ 63059 h 3105260"/>
              <a:gd name="connsiteX2235" fmla="*/ 1857226 w 3105279"/>
              <a:gd name="connsiteY2235" fmla="*/ 60007 h 3105260"/>
              <a:gd name="connsiteX2236" fmla="*/ 1851582 w 3105279"/>
              <a:gd name="connsiteY2236" fmla="*/ 58867 h 3105260"/>
              <a:gd name="connsiteX2237" fmla="*/ 1857300 w 3105279"/>
              <a:gd name="connsiteY2237" fmla="*/ 30463 h 3105260"/>
              <a:gd name="connsiteX2238" fmla="*/ 1863036 w 3105279"/>
              <a:gd name="connsiteY2238" fmla="*/ 31621 h 3105260"/>
              <a:gd name="connsiteX2239" fmla="*/ 1857226 w 3105279"/>
              <a:gd name="connsiteY2239" fmla="*/ 60007 h 3105260"/>
              <a:gd name="connsiteX2240" fmla="*/ 1251657 w 3105279"/>
              <a:gd name="connsiteY2240" fmla="*/ 58941 h 3105260"/>
              <a:gd name="connsiteX2241" fmla="*/ 1245921 w 3105279"/>
              <a:gd name="connsiteY2241" fmla="*/ 30537 h 3105260"/>
              <a:gd name="connsiteX2242" fmla="*/ 1251676 w 3105279"/>
              <a:gd name="connsiteY2242" fmla="*/ 29379 h 3105260"/>
              <a:gd name="connsiteX2243" fmla="*/ 1257301 w 3105279"/>
              <a:gd name="connsiteY2243" fmla="*/ 57801 h 3105260"/>
              <a:gd name="connsiteX2244" fmla="*/ 1251657 w 3105279"/>
              <a:gd name="connsiteY2244" fmla="*/ 58922 h 3105260"/>
              <a:gd name="connsiteX2245" fmla="*/ 1837481 w 3105279"/>
              <a:gd name="connsiteY2245" fmla="*/ 56110 h 3105260"/>
              <a:gd name="connsiteX2246" fmla="*/ 1831837 w 3105279"/>
              <a:gd name="connsiteY2246" fmla="*/ 55043 h 3105260"/>
              <a:gd name="connsiteX2247" fmla="*/ 1837169 w 3105279"/>
              <a:gd name="connsiteY2247" fmla="*/ 26566 h 3105260"/>
              <a:gd name="connsiteX2248" fmla="*/ 1842923 w 3105279"/>
              <a:gd name="connsiteY2248" fmla="*/ 27650 h 3105260"/>
              <a:gd name="connsiteX2249" fmla="*/ 1837481 w 3105279"/>
              <a:gd name="connsiteY2249" fmla="*/ 56110 h 3105260"/>
              <a:gd name="connsiteX2250" fmla="*/ 1271439 w 3105279"/>
              <a:gd name="connsiteY2250" fmla="*/ 55080 h 3105260"/>
              <a:gd name="connsiteX2251" fmla="*/ 1266071 w 3105279"/>
              <a:gd name="connsiteY2251" fmla="*/ 26602 h 3105260"/>
              <a:gd name="connsiteX2252" fmla="*/ 1271844 w 3105279"/>
              <a:gd name="connsiteY2252" fmla="*/ 25536 h 3105260"/>
              <a:gd name="connsiteX2253" fmla="*/ 1277102 w 3105279"/>
              <a:gd name="connsiteY2253" fmla="*/ 54032 h 3105260"/>
              <a:gd name="connsiteX2254" fmla="*/ 1271439 w 3105279"/>
              <a:gd name="connsiteY2254" fmla="*/ 55080 h 3105260"/>
              <a:gd name="connsiteX2255" fmla="*/ 1817699 w 3105279"/>
              <a:gd name="connsiteY2255" fmla="*/ 52451 h 3105260"/>
              <a:gd name="connsiteX2256" fmla="*/ 1812037 w 3105279"/>
              <a:gd name="connsiteY2256" fmla="*/ 51458 h 3105260"/>
              <a:gd name="connsiteX2257" fmla="*/ 1816982 w 3105279"/>
              <a:gd name="connsiteY2257" fmla="*/ 22907 h 3105260"/>
              <a:gd name="connsiteX2258" fmla="*/ 1822755 w 3105279"/>
              <a:gd name="connsiteY2258" fmla="*/ 23918 h 3105260"/>
              <a:gd name="connsiteX2259" fmla="*/ 1817699 w 3105279"/>
              <a:gd name="connsiteY2259" fmla="*/ 52451 h 3105260"/>
              <a:gd name="connsiteX2260" fmla="*/ 1291239 w 3105279"/>
              <a:gd name="connsiteY2260" fmla="*/ 51495 h 3105260"/>
              <a:gd name="connsiteX2261" fmla="*/ 1286257 w 3105279"/>
              <a:gd name="connsiteY2261" fmla="*/ 22962 h 3105260"/>
              <a:gd name="connsiteX2262" fmla="*/ 1292030 w 3105279"/>
              <a:gd name="connsiteY2262" fmla="*/ 21970 h 3105260"/>
              <a:gd name="connsiteX2263" fmla="*/ 1296902 w 3105279"/>
              <a:gd name="connsiteY2263" fmla="*/ 50539 h 3105260"/>
              <a:gd name="connsiteX2264" fmla="*/ 1291239 w 3105279"/>
              <a:gd name="connsiteY2264" fmla="*/ 51514 h 3105260"/>
              <a:gd name="connsiteX2265" fmla="*/ 1797863 w 3105279"/>
              <a:gd name="connsiteY2265" fmla="*/ 49068 h 3105260"/>
              <a:gd name="connsiteX2266" fmla="*/ 1792182 w 3105279"/>
              <a:gd name="connsiteY2266" fmla="*/ 48149 h 3105260"/>
              <a:gd name="connsiteX2267" fmla="*/ 1796759 w 3105279"/>
              <a:gd name="connsiteY2267" fmla="*/ 19543 h 3105260"/>
              <a:gd name="connsiteX2268" fmla="*/ 1802551 w 3105279"/>
              <a:gd name="connsiteY2268" fmla="*/ 20480 h 3105260"/>
              <a:gd name="connsiteX2269" fmla="*/ 1797863 w 3105279"/>
              <a:gd name="connsiteY2269" fmla="*/ 49068 h 3105260"/>
              <a:gd name="connsiteX2270" fmla="*/ 1311095 w 3105279"/>
              <a:gd name="connsiteY2270" fmla="*/ 48168 h 3105260"/>
              <a:gd name="connsiteX2271" fmla="*/ 1306498 w 3105279"/>
              <a:gd name="connsiteY2271" fmla="*/ 19561 h 3105260"/>
              <a:gd name="connsiteX2272" fmla="*/ 1312290 w 3105279"/>
              <a:gd name="connsiteY2272" fmla="*/ 18642 h 3105260"/>
              <a:gd name="connsiteX2273" fmla="*/ 1316775 w 3105279"/>
              <a:gd name="connsiteY2273" fmla="*/ 47267 h 3105260"/>
              <a:gd name="connsiteX2274" fmla="*/ 1311095 w 3105279"/>
              <a:gd name="connsiteY2274" fmla="*/ 48168 h 3105260"/>
              <a:gd name="connsiteX2275" fmla="*/ 1777970 w 3105279"/>
              <a:gd name="connsiteY2275" fmla="*/ 45943 h 3105260"/>
              <a:gd name="connsiteX2276" fmla="*/ 1772290 w 3105279"/>
              <a:gd name="connsiteY2276" fmla="*/ 45097 h 3105260"/>
              <a:gd name="connsiteX2277" fmla="*/ 1776500 w 3105279"/>
              <a:gd name="connsiteY2277" fmla="*/ 16436 h 3105260"/>
              <a:gd name="connsiteX2278" fmla="*/ 1782291 w 3105279"/>
              <a:gd name="connsiteY2278" fmla="*/ 17300 h 3105260"/>
              <a:gd name="connsiteX2279" fmla="*/ 1777989 w 3105279"/>
              <a:gd name="connsiteY2279" fmla="*/ 45943 h 3105260"/>
              <a:gd name="connsiteX2280" fmla="*/ 1330987 w 3105279"/>
              <a:gd name="connsiteY2280" fmla="*/ 45097 h 3105260"/>
              <a:gd name="connsiteX2281" fmla="*/ 1326758 w 3105279"/>
              <a:gd name="connsiteY2281" fmla="*/ 16436 h 3105260"/>
              <a:gd name="connsiteX2282" fmla="*/ 1332568 w 3105279"/>
              <a:gd name="connsiteY2282" fmla="*/ 15590 h 3105260"/>
              <a:gd name="connsiteX2283" fmla="*/ 1336668 w 3105279"/>
              <a:gd name="connsiteY2283" fmla="*/ 44270 h 3105260"/>
              <a:gd name="connsiteX2284" fmla="*/ 1330968 w 3105279"/>
              <a:gd name="connsiteY2284" fmla="*/ 45097 h 3105260"/>
              <a:gd name="connsiteX2285" fmla="*/ 1758042 w 3105279"/>
              <a:gd name="connsiteY2285" fmla="*/ 43075 h 3105260"/>
              <a:gd name="connsiteX2286" fmla="*/ 1752342 w 3105279"/>
              <a:gd name="connsiteY2286" fmla="*/ 42303 h 3105260"/>
              <a:gd name="connsiteX2287" fmla="*/ 1756166 w 3105279"/>
              <a:gd name="connsiteY2287" fmla="*/ 13586 h 3105260"/>
              <a:gd name="connsiteX2288" fmla="*/ 1761976 w 3105279"/>
              <a:gd name="connsiteY2288" fmla="*/ 14377 h 3105260"/>
              <a:gd name="connsiteX2289" fmla="*/ 1758042 w 3105279"/>
              <a:gd name="connsiteY2289" fmla="*/ 43075 h 3105260"/>
              <a:gd name="connsiteX2290" fmla="*/ 1350934 w 3105279"/>
              <a:gd name="connsiteY2290" fmla="*/ 42303 h 3105260"/>
              <a:gd name="connsiteX2291" fmla="*/ 1347092 w 3105279"/>
              <a:gd name="connsiteY2291" fmla="*/ 13586 h 3105260"/>
              <a:gd name="connsiteX2292" fmla="*/ 1352901 w 3105279"/>
              <a:gd name="connsiteY2292" fmla="*/ 12814 h 3105260"/>
              <a:gd name="connsiteX2293" fmla="*/ 1356633 w 3105279"/>
              <a:gd name="connsiteY2293" fmla="*/ 41549 h 3105260"/>
              <a:gd name="connsiteX2294" fmla="*/ 1350934 w 3105279"/>
              <a:gd name="connsiteY2294" fmla="*/ 42303 h 3105260"/>
              <a:gd name="connsiteX2295" fmla="*/ 1738094 w 3105279"/>
              <a:gd name="connsiteY2295" fmla="*/ 40483 h 3105260"/>
              <a:gd name="connsiteX2296" fmla="*/ 1732377 w 3105279"/>
              <a:gd name="connsiteY2296" fmla="*/ 39784 h 3105260"/>
              <a:gd name="connsiteX2297" fmla="*/ 1735815 w 3105279"/>
              <a:gd name="connsiteY2297" fmla="*/ 11012 h 3105260"/>
              <a:gd name="connsiteX2298" fmla="*/ 1741624 w 3105279"/>
              <a:gd name="connsiteY2298" fmla="*/ 11711 h 3105260"/>
              <a:gd name="connsiteX2299" fmla="*/ 1738076 w 3105279"/>
              <a:gd name="connsiteY2299" fmla="*/ 40464 h 3105260"/>
              <a:gd name="connsiteX2300" fmla="*/ 1370900 w 3105279"/>
              <a:gd name="connsiteY2300" fmla="*/ 39766 h 3105260"/>
              <a:gd name="connsiteX2301" fmla="*/ 1367443 w 3105279"/>
              <a:gd name="connsiteY2301" fmla="*/ 10994 h 3105260"/>
              <a:gd name="connsiteX2302" fmla="*/ 1373271 w 3105279"/>
              <a:gd name="connsiteY2302" fmla="*/ 10314 h 3105260"/>
              <a:gd name="connsiteX2303" fmla="*/ 1376617 w 3105279"/>
              <a:gd name="connsiteY2303" fmla="*/ 39086 h 3105260"/>
              <a:gd name="connsiteX2304" fmla="*/ 1370900 w 3105279"/>
              <a:gd name="connsiteY2304" fmla="*/ 39766 h 3105260"/>
              <a:gd name="connsiteX2305" fmla="*/ 1718110 w 3105279"/>
              <a:gd name="connsiteY2305" fmla="*/ 38148 h 3105260"/>
              <a:gd name="connsiteX2306" fmla="*/ 1712393 w 3105279"/>
              <a:gd name="connsiteY2306" fmla="*/ 37523 h 3105260"/>
              <a:gd name="connsiteX2307" fmla="*/ 1715463 w 3105279"/>
              <a:gd name="connsiteY2307" fmla="*/ 8714 h 3105260"/>
              <a:gd name="connsiteX2308" fmla="*/ 1721291 w 3105279"/>
              <a:gd name="connsiteY2308" fmla="*/ 9339 h 3105260"/>
              <a:gd name="connsiteX2309" fmla="*/ 1718129 w 3105279"/>
              <a:gd name="connsiteY2309" fmla="*/ 38148 h 3105260"/>
              <a:gd name="connsiteX2310" fmla="*/ 1390884 w 3105279"/>
              <a:gd name="connsiteY2310" fmla="*/ 37504 h 3105260"/>
              <a:gd name="connsiteX2311" fmla="*/ 1387813 w 3105279"/>
              <a:gd name="connsiteY2311" fmla="*/ 8696 h 3105260"/>
              <a:gd name="connsiteX2312" fmla="*/ 1393641 w 3105279"/>
              <a:gd name="connsiteY2312" fmla="*/ 8089 h 3105260"/>
              <a:gd name="connsiteX2313" fmla="*/ 1396601 w 3105279"/>
              <a:gd name="connsiteY2313" fmla="*/ 36916 h 3105260"/>
              <a:gd name="connsiteX2314" fmla="*/ 1390884 w 3105279"/>
              <a:gd name="connsiteY2314" fmla="*/ 37523 h 3105260"/>
              <a:gd name="connsiteX2315" fmla="*/ 1698090 w 3105279"/>
              <a:gd name="connsiteY2315" fmla="*/ 36070 h 3105260"/>
              <a:gd name="connsiteX2316" fmla="*/ 1692354 w 3105279"/>
              <a:gd name="connsiteY2316" fmla="*/ 35519 h 3105260"/>
              <a:gd name="connsiteX2317" fmla="*/ 1695038 w 3105279"/>
              <a:gd name="connsiteY2317" fmla="*/ 6674 h 3105260"/>
              <a:gd name="connsiteX2318" fmla="*/ 1700866 w 3105279"/>
              <a:gd name="connsiteY2318" fmla="*/ 7225 h 3105260"/>
              <a:gd name="connsiteX2319" fmla="*/ 1698090 w 3105279"/>
              <a:gd name="connsiteY2319" fmla="*/ 36070 h 3105260"/>
              <a:gd name="connsiteX2320" fmla="*/ 1410923 w 3105279"/>
              <a:gd name="connsiteY2320" fmla="*/ 35501 h 3105260"/>
              <a:gd name="connsiteX2321" fmla="*/ 1408239 w 3105279"/>
              <a:gd name="connsiteY2321" fmla="*/ 6655 h 3105260"/>
              <a:gd name="connsiteX2322" fmla="*/ 1414085 w 3105279"/>
              <a:gd name="connsiteY2322" fmla="*/ 6122 h 3105260"/>
              <a:gd name="connsiteX2323" fmla="*/ 1416659 w 3105279"/>
              <a:gd name="connsiteY2323" fmla="*/ 34986 h 3105260"/>
              <a:gd name="connsiteX2324" fmla="*/ 1410941 w 3105279"/>
              <a:gd name="connsiteY2324" fmla="*/ 35501 h 3105260"/>
              <a:gd name="connsiteX2325" fmla="*/ 1678032 w 3105279"/>
              <a:gd name="connsiteY2325" fmla="*/ 34250 h 3105260"/>
              <a:gd name="connsiteX2326" fmla="*/ 1672296 w 3105279"/>
              <a:gd name="connsiteY2326" fmla="*/ 33772 h 3105260"/>
              <a:gd name="connsiteX2327" fmla="*/ 1674612 w 3105279"/>
              <a:gd name="connsiteY2327" fmla="*/ 4890 h 3105260"/>
              <a:gd name="connsiteX2328" fmla="*/ 1680440 w 3105279"/>
              <a:gd name="connsiteY2328" fmla="*/ 5368 h 3105260"/>
              <a:gd name="connsiteX2329" fmla="*/ 1678032 w 3105279"/>
              <a:gd name="connsiteY2329" fmla="*/ 34250 h 3105260"/>
              <a:gd name="connsiteX2330" fmla="*/ 1430980 w 3105279"/>
              <a:gd name="connsiteY2330" fmla="*/ 33772 h 3105260"/>
              <a:gd name="connsiteX2331" fmla="*/ 1428664 w 3105279"/>
              <a:gd name="connsiteY2331" fmla="*/ 4890 h 3105260"/>
              <a:gd name="connsiteX2332" fmla="*/ 1434510 w 3105279"/>
              <a:gd name="connsiteY2332" fmla="*/ 4431 h 3105260"/>
              <a:gd name="connsiteX2333" fmla="*/ 1436698 w 3105279"/>
              <a:gd name="connsiteY2333" fmla="*/ 33313 h 3105260"/>
              <a:gd name="connsiteX2334" fmla="*/ 1430962 w 3105279"/>
              <a:gd name="connsiteY2334" fmla="*/ 33754 h 3105260"/>
              <a:gd name="connsiteX2335" fmla="*/ 1657956 w 3105279"/>
              <a:gd name="connsiteY2335" fmla="*/ 32706 h 3105260"/>
              <a:gd name="connsiteX2336" fmla="*/ 1652202 w 3105279"/>
              <a:gd name="connsiteY2336" fmla="*/ 32320 h 3105260"/>
              <a:gd name="connsiteX2337" fmla="*/ 1654132 w 3105279"/>
              <a:gd name="connsiteY2337" fmla="*/ 3420 h 3105260"/>
              <a:gd name="connsiteX2338" fmla="*/ 1659978 w 3105279"/>
              <a:gd name="connsiteY2338" fmla="*/ 3824 h 3105260"/>
              <a:gd name="connsiteX2339" fmla="*/ 1657956 w 3105279"/>
              <a:gd name="connsiteY2339" fmla="*/ 32724 h 3105260"/>
              <a:gd name="connsiteX2340" fmla="*/ 1451038 w 3105279"/>
              <a:gd name="connsiteY2340" fmla="*/ 32302 h 3105260"/>
              <a:gd name="connsiteX2341" fmla="*/ 1449126 w 3105279"/>
              <a:gd name="connsiteY2341" fmla="*/ 3383 h 3105260"/>
              <a:gd name="connsiteX2342" fmla="*/ 1454972 w 3105279"/>
              <a:gd name="connsiteY2342" fmla="*/ 3015 h 3105260"/>
              <a:gd name="connsiteX2343" fmla="*/ 1456792 w 3105279"/>
              <a:gd name="connsiteY2343" fmla="*/ 31934 h 3105260"/>
              <a:gd name="connsiteX2344" fmla="*/ 1451056 w 3105279"/>
              <a:gd name="connsiteY2344" fmla="*/ 32302 h 3105260"/>
              <a:gd name="connsiteX2345" fmla="*/ 1637862 w 3105279"/>
              <a:gd name="connsiteY2345" fmla="*/ 31438 h 3105260"/>
              <a:gd name="connsiteX2346" fmla="*/ 1632107 w 3105279"/>
              <a:gd name="connsiteY2346" fmla="*/ 31125 h 3105260"/>
              <a:gd name="connsiteX2347" fmla="*/ 1633633 w 3105279"/>
              <a:gd name="connsiteY2347" fmla="*/ 2188 h 3105260"/>
              <a:gd name="connsiteX2348" fmla="*/ 1639480 w 3105279"/>
              <a:gd name="connsiteY2348" fmla="*/ 2519 h 3105260"/>
              <a:gd name="connsiteX2349" fmla="*/ 1637843 w 3105279"/>
              <a:gd name="connsiteY2349" fmla="*/ 31438 h 3105260"/>
              <a:gd name="connsiteX2350" fmla="*/ 1471132 w 3105279"/>
              <a:gd name="connsiteY2350" fmla="*/ 31107 h 3105260"/>
              <a:gd name="connsiteX2351" fmla="*/ 1469588 w 3105279"/>
              <a:gd name="connsiteY2351" fmla="*/ 2169 h 3105260"/>
              <a:gd name="connsiteX2352" fmla="*/ 1475453 w 3105279"/>
              <a:gd name="connsiteY2352" fmla="*/ 1875 h 3105260"/>
              <a:gd name="connsiteX2353" fmla="*/ 1476868 w 3105279"/>
              <a:gd name="connsiteY2353" fmla="*/ 30813 h 3105260"/>
              <a:gd name="connsiteX2354" fmla="*/ 1471132 w 3105279"/>
              <a:gd name="connsiteY2354" fmla="*/ 31107 h 3105260"/>
              <a:gd name="connsiteX2355" fmla="*/ 1617731 w 3105279"/>
              <a:gd name="connsiteY2355" fmla="*/ 30426 h 3105260"/>
              <a:gd name="connsiteX2356" fmla="*/ 1611995 w 3105279"/>
              <a:gd name="connsiteY2356" fmla="*/ 30187 h 3105260"/>
              <a:gd name="connsiteX2357" fmla="*/ 1613153 w 3105279"/>
              <a:gd name="connsiteY2357" fmla="*/ 1232 h 3105260"/>
              <a:gd name="connsiteX2358" fmla="*/ 1619018 w 3105279"/>
              <a:gd name="connsiteY2358" fmla="*/ 1471 h 3105260"/>
              <a:gd name="connsiteX2359" fmla="*/ 1617731 w 3105279"/>
              <a:gd name="connsiteY2359" fmla="*/ 30408 h 3105260"/>
              <a:gd name="connsiteX2360" fmla="*/ 1491245 w 3105279"/>
              <a:gd name="connsiteY2360" fmla="*/ 30169 h 3105260"/>
              <a:gd name="connsiteX2361" fmla="*/ 1490087 w 3105279"/>
              <a:gd name="connsiteY2361" fmla="*/ 1213 h 3105260"/>
              <a:gd name="connsiteX2362" fmla="*/ 1495951 w 3105279"/>
              <a:gd name="connsiteY2362" fmla="*/ 993 h 3105260"/>
              <a:gd name="connsiteX2363" fmla="*/ 1496981 w 3105279"/>
              <a:gd name="connsiteY2363" fmla="*/ 29948 h 3105260"/>
              <a:gd name="connsiteX2364" fmla="*/ 1491245 w 3105279"/>
              <a:gd name="connsiteY2364" fmla="*/ 30169 h 3105260"/>
              <a:gd name="connsiteX2365" fmla="*/ 1597600 w 3105279"/>
              <a:gd name="connsiteY2365" fmla="*/ 29673 h 3105260"/>
              <a:gd name="connsiteX2366" fmla="*/ 1591845 w 3105279"/>
              <a:gd name="connsiteY2366" fmla="*/ 29507 h 3105260"/>
              <a:gd name="connsiteX2367" fmla="*/ 1592617 w 3105279"/>
              <a:gd name="connsiteY2367" fmla="*/ 552 h 3105260"/>
              <a:gd name="connsiteX2368" fmla="*/ 1598482 w 3105279"/>
              <a:gd name="connsiteY2368" fmla="*/ 717 h 3105260"/>
              <a:gd name="connsiteX2369" fmla="*/ 1597600 w 3105279"/>
              <a:gd name="connsiteY2369" fmla="*/ 29673 h 3105260"/>
              <a:gd name="connsiteX2370" fmla="*/ 1511358 w 3105279"/>
              <a:gd name="connsiteY2370" fmla="*/ 29507 h 3105260"/>
              <a:gd name="connsiteX2371" fmla="*/ 1510604 w 3105279"/>
              <a:gd name="connsiteY2371" fmla="*/ 552 h 3105260"/>
              <a:gd name="connsiteX2372" fmla="*/ 1516468 w 3105279"/>
              <a:gd name="connsiteY2372" fmla="*/ 404 h 3105260"/>
              <a:gd name="connsiteX2373" fmla="*/ 1517130 w 3105279"/>
              <a:gd name="connsiteY2373" fmla="*/ 29379 h 3105260"/>
              <a:gd name="connsiteX2374" fmla="*/ 1511376 w 3105279"/>
              <a:gd name="connsiteY2374" fmla="*/ 29526 h 3105260"/>
              <a:gd name="connsiteX2375" fmla="*/ 1577468 w 3105279"/>
              <a:gd name="connsiteY2375" fmla="*/ 29195 h 3105260"/>
              <a:gd name="connsiteX2376" fmla="*/ 1571714 w 3105279"/>
              <a:gd name="connsiteY2376" fmla="*/ 29103 h 3105260"/>
              <a:gd name="connsiteX2377" fmla="*/ 1572100 w 3105279"/>
              <a:gd name="connsiteY2377" fmla="*/ 129 h 3105260"/>
              <a:gd name="connsiteX2378" fmla="*/ 1577965 w 3105279"/>
              <a:gd name="connsiteY2378" fmla="*/ 221 h 3105260"/>
              <a:gd name="connsiteX2379" fmla="*/ 1577468 w 3105279"/>
              <a:gd name="connsiteY2379" fmla="*/ 29195 h 3105260"/>
              <a:gd name="connsiteX2380" fmla="*/ 1531470 w 3105279"/>
              <a:gd name="connsiteY2380" fmla="*/ 29103 h 3105260"/>
              <a:gd name="connsiteX2381" fmla="*/ 1531084 w 3105279"/>
              <a:gd name="connsiteY2381" fmla="*/ 129 h 3105260"/>
              <a:gd name="connsiteX2382" fmla="*/ 1536949 w 3105279"/>
              <a:gd name="connsiteY2382" fmla="*/ 55 h 3105260"/>
              <a:gd name="connsiteX2383" fmla="*/ 1537206 w 3105279"/>
              <a:gd name="connsiteY2383" fmla="*/ 29029 h 3105260"/>
              <a:gd name="connsiteX2384" fmla="*/ 1531470 w 3105279"/>
              <a:gd name="connsiteY2384" fmla="*/ 29103 h 3105260"/>
              <a:gd name="connsiteX2385" fmla="*/ 1557319 w 3105279"/>
              <a:gd name="connsiteY2385" fmla="*/ 28992 h 3105260"/>
              <a:gd name="connsiteX2386" fmla="*/ 1551565 w 3105279"/>
              <a:gd name="connsiteY2386" fmla="*/ 28992 h 3105260"/>
              <a:gd name="connsiteX2387" fmla="*/ 1551565 w 3105279"/>
              <a:gd name="connsiteY2387" fmla="*/ 0 h 3105260"/>
              <a:gd name="connsiteX2388" fmla="*/ 1557429 w 3105279"/>
              <a:gd name="connsiteY2388" fmla="*/ 0 h 3105260"/>
              <a:gd name="connsiteX2389" fmla="*/ 1557301 w 3105279"/>
              <a:gd name="connsiteY2389" fmla="*/ 28974 h 310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Lst>
            <a:rect l="l" t="t" r="r" b="b"/>
            <a:pathLst>
              <a:path w="3105279" h="3105260">
                <a:moveTo>
                  <a:pt x="1553936" y="3105261"/>
                </a:moveTo>
                <a:cubicBezTo>
                  <a:pt x="1552135" y="3105261"/>
                  <a:pt x="1550425" y="3105261"/>
                  <a:pt x="1548715" y="3105261"/>
                </a:cubicBezTo>
                <a:lnTo>
                  <a:pt x="1548807" y="3076286"/>
                </a:lnTo>
                <a:cubicBezTo>
                  <a:pt x="1550498" y="3076286"/>
                  <a:pt x="1552171" y="3076286"/>
                  <a:pt x="1553844" y="3076286"/>
                </a:cubicBezTo>
                <a:lnTo>
                  <a:pt x="1554561" y="3076286"/>
                </a:lnTo>
                <a:cubicBezTo>
                  <a:pt x="1554561" y="3076286"/>
                  <a:pt x="1554561" y="3105261"/>
                  <a:pt x="1554561" y="3105261"/>
                </a:cubicBezTo>
                <a:lnTo>
                  <a:pt x="1553936" y="3105261"/>
                </a:lnTo>
                <a:close/>
                <a:moveTo>
                  <a:pt x="1569195" y="3105187"/>
                </a:moveTo>
                <a:lnTo>
                  <a:pt x="1568920" y="3076213"/>
                </a:lnTo>
                <a:cubicBezTo>
                  <a:pt x="1570832" y="3076213"/>
                  <a:pt x="1572744" y="3076176"/>
                  <a:pt x="1574656" y="3076139"/>
                </a:cubicBezTo>
                <a:lnTo>
                  <a:pt x="1575060" y="3105113"/>
                </a:lnTo>
                <a:cubicBezTo>
                  <a:pt x="1573111" y="3105132"/>
                  <a:pt x="1571144" y="3105169"/>
                  <a:pt x="1569195" y="3105187"/>
                </a:cubicBezTo>
                <a:close/>
                <a:moveTo>
                  <a:pt x="1534044" y="3105150"/>
                </a:moveTo>
                <a:cubicBezTo>
                  <a:pt x="1532095" y="3105132"/>
                  <a:pt x="1530128" y="3105095"/>
                  <a:pt x="1528179" y="3105058"/>
                </a:cubicBezTo>
                <a:lnTo>
                  <a:pt x="1528657" y="3076084"/>
                </a:lnTo>
                <a:cubicBezTo>
                  <a:pt x="1530569" y="3076121"/>
                  <a:pt x="1532500" y="3076139"/>
                  <a:pt x="1534412" y="3076176"/>
                </a:cubicBezTo>
                <a:lnTo>
                  <a:pt x="1534026" y="3105150"/>
                </a:lnTo>
                <a:close/>
                <a:moveTo>
                  <a:pt x="1589713" y="3104856"/>
                </a:moveTo>
                <a:lnTo>
                  <a:pt x="1589032" y="3075882"/>
                </a:lnTo>
                <a:cubicBezTo>
                  <a:pt x="1590944" y="3075845"/>
                  <a:pt x="1592875" y="3075790"/>
                  <a:pt x="1594787" y="3075735"/>
                </a:cubicBezTo>
                <a:lnTo>
                  <a:pt x="1595577" y="3104691"/>
                </a:lnTo>
                <a:cubicBezTo>
                  <a:pt x="1593628" y="3104746"/>
                  <a:pt x="1591680" y="3104801"/>
                  <a:pt x="1589713" y="3104838"/>
                </a:cubicBezTo>
                <a:close/>
                <a:moveTo>
                  <a:pt x="1513527" y="3104746"/>
                </a:moveTo>
                <a:cubicBezTo>
                  <a:pt x="1511578" y="3104691"/>
                  <a:pt x="1509611" y="3104635"/>
                  <a:pt x="1507662" y="3104580"/>
                </a:cubicBezTo>
                <a:lnTo>
                  <a:pt x="1508526" y="3075624"/>
                </a:lnTo>
                <a:cubicBezTo>
                  <a:pt x="1510438" y="3075680"/>
                  <a:pt x="1512369" y="3075735"/>
                  <a:pt x="1514281" y="3075790"/>
                </a:cubicBezTo>
                <a:lnTo>
                  <a:pt x="1513527" y="3104746"/>
                </a:lnTo>
                <a:close/>
                <a:moveTo>
                  <a:pt x="1610211" y="3104249"/>
                </a:moveTo>
                <a:lnTo>
                  <a:pt x="1609145" y="3075294"/>
                </a:lnTo>
                <a:cubicBezTo>
                  <a:pt x="1611057" y="3075220"/>
                  <a:pt x="1612969" y="3075147"/>
                  <a:pt x="1614899" y="3075073"/>
                </a:cubicBezTo>
                <a:lnTo>
                  <a:pt x="1616058" y="3104029"/>
                </a:lnTo>
                <a:cubicBezTo>
                  <a:pt x="1614109" y="3104102"/>
                  <a:pt x="1612160" y="3104176"/>
                  <a:pt x="1610193" y="3104249"/>
                </a:cubicBezTo>
                <a:close/>
                <a:moveTo>
                  <a:pt x="1493010" y="3104065"/>
                </a:moveTo>
                <a:cubicBezTo>
                  <a:pt x="1491061" y="3103992"/>
                  <a:pt x="1489112" y="3103900"/>
                  <a:pt x="1487145" y="3103826"/>
                </a:cubicBezTo>
                <a:lnTo>
                  <a:pt x="1488395" y="3074871"/>
                </a:lnTo>
                <a:cubicBezTo>
                  <a:pt x="1490307" y="3074963"/>
                  <a:pt x="1492238" y="3075036"/>
                  <a:pt x="1494150" y="3075110"/>
                </a:cubicBezTo>
                <a:lnTo>
                  <a:pt x="1493010" y="3104065"/>
                </a:lnTo>
                <a:close/>
                <a:moveTo>
                  <a:pt x="1630692" y="3103348"/>
                </a:moveTo>
                <a:lnTo>
                  <a:pt x="1629258" y="3074411"/>
                </a:lnTo>
                <a:cubicBezTo>
                  <a:pt x="1631170" y="3074319"/>
                  <a:pt x="1633082" y="3074209"/>
                  <a:pt x="1635012" y="3074117"/>
                </a:cubicBezTo>
                <a:lnTo>
                  <a:pt x="1636556" y="3103054"/>
                </a:lnTo>
                <a:cubicBezTo>
                  <a:pt x="1634608" y="3103165"/>
                  <a:pt x="1632659" y="3103256"/>
                  <a:pt x="1630710" y="3103348"/>
                </a:cubicBezTo>
                <a:close/>
                <a:moveTo>
                  <a:pt x="1472511" y="3103128"/>
                </a:moveTo>
                <a:cubicBezTo>
                  <a:pt x="1470562" y="3103017"/>
                  <a:pt x="1468595" y="3102926"/>
                  <a:pt x="1466646" y="3102815"/>
                </a:cubicBezTo>
                <a:lnTo>
                  <a:pt x="1468301" y="3073896"/>
                </a:lnTo>
                <a:cubicBezTo>
                  <a:pt x="1470213" y="3074007"/>
                  <a:pt x="1472125" y="3074117"/>
                  <a:pt x="1474037" y="3074209"/>
                </a:cubicBezTo>
                <a:lnTo>
                  <a:pt x="1472511" y="3103146"/>
                </a:lnTo>
                <a:close/>
                <a:moveTo>
                  <a:pt x="1651172" y="3102209"/>
                </a:moveTo>
                <a:lnTo>
                  <a:pt x="1649352" y="3073290"/>
                </a:lnTo>
                <a:cubicBezTo>
                  <a:pt x="1651264" y="3073161"/>
                  <a:pt x="1653176" y="3073051"/>
                  <a:pt x="1655088" y="3072922"/>
                </a:cubicBezTo>
                <a:lnTo>
                  <a:pt x="1657018" y="3101822"/>
                </a:lnTo>
                <a:cubicBezTo>
                  <a:pt x="1655070" y="3101951"/>
                  <a:pt x="1653121" y="3102080"/>
                  <a:pt x="1651172" y="3102209"/>
                </a:cubicBezTo>
                <a:close/>
                <a:moveTo>
                  <a:pt x="1452031" y="3101914"/>
                </a:moveTo>
                <a:cubicBezTo>
                  <a:pt x="1450082" y="3101786"/>
                  <a:pt x="1448133" y="3101657"/>
                  <a:pt x="1446184" y="3101510"/>
                </a:cubicBezTo>
                <a:lnTo>
                  <a:pt x="1448188" y="3072610"/>
                </a:lnTo>
                <a:cubicBezTo>
                  <a:pt x="1450100" y="3072738"/>
                  <a:pt x="1452012" y="3072867"/>
                  <a:pt x="1453924" y="3072996"/>
                </a:cubicBezTo>
                <a:lnTo>
                  <a:pt x="1452012" y="3101914"/>
                </a:lnTo>
                <a:close/>
                <a:moveTo>
                  <a:pt x="1671634" y="3100775"/>
                </a:moveTo>
                <a:lnTo>
                  <a:pt x="1669428" y="3071893"/>
                </a:lnTo>
                <a:cubicBezTo>
                  <a:pt x="1671340" y="3071745"/>
                  <a:pt x="1673252" y="3071598"/>
                  <a:pt x="1675146" y="3071433"/>
                </a:cubicBezTo>
                <a:lnTo>
                  <a:pt x="1677480" y="3100315"/>
                </a:lnTo>
                <a:cubicBezTo>
                  <a:pt x="1675532" y="3100480"/>
                  <a:pt x="1673583" y="3100628"/>
                  <a:pt x="1671634" y="3100775"/>
                </a:cubicBezTo>
                <a:close/>
                <a:moveTo>
                  <a:pt x="1431550" y="3100425"/>
                </a:moveTo>
                <a:cubicBezTo>
                  <a:pt x="1429601" y="3100278"/>
                  <a:pt x="1427653" y="3100113"/>
                  <a:pt x="1425704" y="3099947"/>
                </a:cubicBezTo>
                <a:lnTo>
                  <a:pt x="1428094" y="3071065"/>
                </a:lnTo>
                <a:cubicBezTo>
                  <a:pt x="1430006" y="3071231"/>
                  <a:pt x="1431918" y="3071378"/>
                  <a:pt x="1433830" y="3071525"/>
                </a:cubicBezTo>
                <a:lnTo>
                  <a:pt x="1431550" y="3100407"/>
                </a:lnTo>
                <a:close/>
                <a:moveTo>
                  <a:pt x="1692078" y="3099065"/>
                </a:moveTo>
                <a:lnTo>
                  <a:pt x="1689485" y="3070201"/>
                </a:lnTo>
                <a:cubicBezTo>
                  <a:pt x="1691398" y="3070036"/>
                  <a:pt x="1693291" y="3069852"/>
                  <a:pt x="1695203" y="3069668"/>
                </a:cubicBezTo>
                <a:lnTo>
                  <a:pt x="1697906" y="3098513"/>
                </a:lnTo>
                <a:cubicBezTo>
                  <a:pt x="1695957" y="3098697"/>
                  <a:pt x="1694008" y="3098881"/>
                  <a:pt x="1692059" y="3099047"/>
                </a:cubicBezTo>
                <a:close/>
                <a:moveTo>
                  <a:pt x="1411107" y="3098679"/>
                </a:moveTo>
                <a:cubicBezTo>
                  <a:pt x="1409158" y="3098495"/>
                  <a:pt x="1407209" y="3098311"/>
                  <a:pt x="1405279" y="3098127"/>
                </a:cubicBezTo>
                <a:lnTo>
                  <a:pt x="1408055" y="3069282"/>
                </a:lnTo>
                <a:cubicBezTo>
                  <a:pt x="1409967" y="3069466"/>
                  <a:pt x="1411879" y="3069649"/>
                  <a:pt x="1413791" y="3069815"/>
                </a:cubicBezTo>
                <a:lnTo>
                  <a:pt x="1411125" y="3098660"/>
                </a:lnTo>
                <a:close/>
                <a:moveTo>
                  <a:pt x="1712503" y="3097098"/>
                </a:moveTo>
                <a:lnTo>
                  <a:pt x="1709543" y="3068271"/>
                </a:lnTo>
                <a:cubicBezTo>
                  <a:pt x="1711455" y="3068068"/>
                  <a:pt x="1713349" y="3067866"/>
                  <a:pt x="1715261" y="3067664"/>
                </a:cubicBezTo>
                <a:lnTo>
                  <a:pt x="1718349" y="3096473"/>
                </a:lnTo>
                <a:cubicBezTo>
                  <a:pt x="1716401" y="3096675"/>
                  <a:pt x="1714452" y="3096877"/>
                  <a:pt x="1712521" y="3097079"/>
                </a:cubicBezTo>
                <a:close/>
                <a:moveTo>
                  <a:pt x="1390700" y="3096656"/>
                </a:moveTo>
                <a:cubicBezTo>
                  <a:pt x="1388751" y="3096454"/>
                  <a:pt x="1386821" y="3096234"/>
                  <a:pt x="1384872" y="3096031"/>
                </a:cubicBezTo>
                <a:lnTo>
                  <a:pt x="1388034" y="3067223"/>
                </a:lnTo>
                <a:cubicBezTo>
                  <a:pt x="1389946" y="3067425"/>
                  <a:pt x="1391840" y="3067646"/>
                  <a:pt x="1393752" y="3067848"/>
                </a:cubicBezTo>
                <a:lnTo>
                  <a:pt x="1390700" y="3096656"/>
                </a:lnTo>
                <a:close/>
                <a:moveTo>
                  <a:pt x="1732891" y="3094855"/>
                </a:moveTo>
                <a:lnTo>
                  <a:pt x="1729527" y="3066083"/>
                </a:lnTo>
                <a:cubicBezTo>
                  <a:pt x="1731439" y="3065862"/>
                  <a:pt x="1733333" y="3065642"/>
                  <a:pt x="1735245" y="3065403"/>
                </a:cubicBezTo>
                <a:lnTo>
                  <a:pt x="1738719" y="3094175"/>
                </a:lnTo>
                <a:cubicBezTo>
                  <a:pt x="1736789" y="3094414"/>
                  <a:pt x="1734840" y="3094634"/>
                  <a:pt x="1732910" y="3094873"/>
                </a:cubicBezTo>
                <a:close/>
                <a:moveTo>
                  <a:pt x="1370311" y="3094358"/>
                </a:moveTo>
                <a:cubicBezTo>
                  <a:pt x="1368363" y="3094119"/>
                  <a:pt x="1366432" y="3093899"/>
                  <a:pt x="1364483" y="3093641"/>
                </a:cubicBezTo>
                <a:lnTo>
                  <a:pt x="1368032" y="3064888"/>
                </a:lnTo>
                <a:cubicBezTo>
                  <a:pt x="1369925" y="3065127"/>
                  <a:pt x="1371837" y="3065348"/>
                  <a:pt x="1373731" y="3065587"/>
                </a:cubicBezTo>
                <a:lnTo>
                  <a:pt x="1370293" y="3094358"/>
                </a:lnTo>
                <a:close/>
                <a:moveTo>
                  <a:pt x="1753262" y="3092336"/>
                </a:moveTo>
                <a:lnTo>
                  <a:pt x="1749511" y="3063601"/>
                </a:lnTo>
                <a:cubicBezTo>
                  <a:pt x="1751405" y="3063362"/>
                  <a:pt x="1753317" y="3063105"/>
                  <a:pt x="1755210" y="3062847"/>
                </a:cubicBezTo>
                <a:lnTo>
                  <a:pt x="1759071" y="3091564"/>
                </a:lnTo>
                <a:cubicBezTo>
                  <a:pt x="1757141" y="3091821"/>
                  <a:pt x="1755192" y="3092079"/>
                  <a:pt x="1753262" y="3092336"/>
                </a:cubicBezTo>
                <a:close/>
                <a:moveTo>
                  <a:pt x="1349960" y="3091803"/>
                </a:moveTo>
                <a:cubicBezTo>
                  <a:pt x="1348029" y="3091546"/>
                  <a:pt x="1346080" y="3091288"/>
                  <a:pt x="1344150" y="3091031"/>
                </a:cubicBezTo>
                <a:lnTo>
                  <a:pt x="1348066" y="3062314"/>
                </a:lnTo>
                <a:cubicBezTo>
                  <a:pt x="1349960" y="3062571"/>
                  <a:pt x="1351872" y="3062829"/>
                  <a:pt x="1353765" y="3063086"/>
                </a:cubicBezTo>
                <a:lnTo>
                  <a:pt x="1349960" y="3091803"/>
                </a:lnTo>
                <a:close/>
                <a:moveTo>
                  <a:pt x="1773576" y="3089560"/>
                </a:moveTo>
                <a:lnTo>
                  <a:pt x="1769440" y="3060880"/>
                </a:lnTo>
                <a:cubicBezTo>
                  <a:pt x="1771334" y="3060604"/>
                  <a:pt x="1773246" y="3060329"/>
                  <a:pt x="1775139" y="3060053"/>
                </a:cubicBezTo>
                <a:lnTo>
                  <a:pt x="1779368" y="3088714"/>
                </a:lnTo>
                <a:cubicBezTo>
                  <a:pt x="1777437" y="3089008"/>
                  <a:pt x="1775507" y="3089284"/>
                  <a:pt x="1773576" y="3089560"/>
                </a:cubicBezTo>
                <a:close/>
                <a:moveTo>
                  <a:pt x="1329645" y="3088972"/>
                </a:moveTo>
                <a:cubicBezTo>
                  <a:pt x="1327714" y="3088696"/>
                  <a:pt x="1325784" y="3088402"/>
                  <a:pt x="1323853" y="3088108"/>
                </a:cubicBezTo>
                <a:lnTo>
                  <a:pt x="1328155" y="3059446"/>
                </a:lnTo>
                <a:cubicBezTo>
                  <a:pt x="1330049" y="3059740"/>
                  <a:pt x="1331943" y="3060016"/>
                  <a:pt x="1333836" y="3060292"/>
                </a:cubicBezTo>
                <a:lnTo>
                  <a:pt x="1329645" y="3088953"/>
                </a:lnTo>
                <a:close/>
                <a:moveTo>
                  <a:pt x="1793855" y="3086490"/>
                </a:moveTo>
                <a:lnTo>
                  <a:pt x="1789351" y="3057865"/>
                </a:lnTo>
                <a:cubicBezTo>
                  <a:pt x="1791244" y="3057571"/>
                  <a:pt x="1793138" y="3057258"/>
                  <a:pt x="1795031" y="3056964"/>
                </a:cubicBezTo>
                <a:lnTo>
                  <a:pt x="1799646" y="3085571"/>
                </a:lnTo>
                <a:cubicBezTo>
                  <a:pt x="1797715" y="3085883"/>
                  <a:pt x="1795785" y="3086196"/>
                  <a:pt x="1793855" y="3086490"/>
                </a:cubicBezTo>
                <a:close/>
                <a:moveTo>
                  <a:pt x="1309385" y="3085865"/>
                </a:moveTo>
                <a:cubicBezTo>
                  <a:pt x="1307454" y="3085552"/>
                  <a:pt x="1305524" y="3085240"/>
                  <a:pt x="1303594" y="3084927"/>
                </a:cubicBezTo>
                <a:lnTo>
                  <a:pt x="1308282" y="3056339"/>
                </a:lnTo>
                <a:cubicBezTo>
                  <a:pt x="1310175" y="3056652"/>
                  <a:pt x="1312069" y="3056946"/>
                  <a:pt x="1313944" y="3057258"/>
                </a:cubicBezTo>
                <a:lnTo>
                  <a:pt x="1309385" y="3085865"/>
                </a:lnTo>
                <a:close/>
                <a:moveTo>
                  <a:pt x="1814114" y="3083162"/>
                </a:moveTo>
                <a:lnTo>
                  <a:pt x="1809224" y="3054611"/>
                </a:lnTo>
                <a:cubicBezTo>
                  <a:pt x="1811118" y="3054280"/>
                  <a:pt x="1813011" y="3053968"/>
                  <a:pt x="1814886" y="3053637"/>
                </a:cubicBezTo>
                <a:lnTo>
                  <a:pt x="1819887" y="3082169"/>
                </a:lnTo>
                <a:cubicBezTo>
                  <a:pt x="1817957" y="3082500"/>
                  <a:pt x="1816045" y="3082831"/>
                  <a:pt x="1814114" y="3083162"/>
                </a:cubicBezTo>
                <a:close/>
                <a:moveTo>
                  <a:pt x="1289143" y="3082500"/>
                </a:moveTo>
                <a:cubicBezTo>
                  <a:pt x="1287213" y="3082169"/>
                  <a:pt x="1285283" y="3081820"/>
                  <a:pt x="1283371" y="3081489"/>
                </a:cubicBezTo>
                <a:lnTo>
                  <a:pt x="1288426" y="3052956"/>
                </a:lnTo>
                <a:cubicBezTo>
                  <a:pt x="1290320" y="3053287"/>
                  <a:pt x="1292195" y="3053618"/>
                  <a:pt x="1294089" y="3053949"/>
                </a:cubicBezTo>
                <a:lnTo>
                  <a:pt x="1289143" y="3082500"/>
                </a:lnTo>
                <a:close/>
                <a:moveTo>
                  <a:pt x="1834301" y="3079577"/>
                </a:moveTo>
                <a:lnTo>
                  <a:pt x="1829043" y="3051081"/>
                </a:lnTo>
                <a:cubicBezTo>
                  <a:pt x="1830936" y="3050732"/>
                  <a:pt x="1832811" y="3050382"/>
                  <a:pt x="1834705" y="3050033"/>
                </a:cubicBezTo>
                <a:lnTo>
                  <a:pt x="1840073" y="3078511"/>
                </a:lnTo>
                <a:cubicBezTo>
                  <a:pt x="1838143" y="3078879"/>
                  <a:pt x="1836231" y="3079228"/>
                  <a:pt x="1834301" y="3079596"/>
                </a:cubicBezTo>
                <a:close/>
                <a:moveTo>
                  <a:pt x="1268976" y="3078879"/>
                </a:moveTo>
                <a:cubicBezTo>
                  <a:pt x="1267045" y="3078511"/>
                  <a:pt x="1265133" y="3078162"/>
                  <a:pt x="1263203" y="3077794"/>
                </a:cubicBezTo>
                <a:lnTo>
                  <a:pt x="1268645" y="3049335"/>
                </a:lnTo>
                <a:cubicBezTo>
                  <a:pt x="1270520" y="3049684"/>
                  <a:pt x="1272395" y="3050052"/>
                  <a:pt x="1274289" y="3050401"/>
                </a:cubicBezTo>
                <a:lnTo>
                  <a:pt x="1268976" y="3078879"/>
                </a:lnTo>
                <a:close/>
                <a:moveTo>
                  <a:pt x="1854468" y="3075698"/>
                </a:moveTo>
                <a:lnTo>
                  <a:pt x="1848806" y="3047276"/>
                </a:lnTo>
                <a:cubicBezTo>
                  <a:pt x="1850681" y="3046908"/>
                  <a:pt x="1852575" y="3046522"/>
                  <a:pt x="1854450" y="3046136"/>
                </a:cubicBezTo>
                <a:lnTo>
                  <a:pt x="1860204" y="3074540"/>
                </a:lnTo>
                <a:cubicBezTo>
                  <a:pt x="1858293" y="3074926"/>
                  <a:pt x="1856381" y="3075312"/>
                  <a:pt x="1854450" y="3075698"/>
                </a:cubicBezTo>
                <a:close/>
                <a:moveTo>
                  <a:pt x="1248844" y="3074981"/>
                </a:moveTo>
                <a:cubicBezTo>
                  <a:pt x="1246933" y="3074595"/>
                  <a:pt x="1245020" y="3074209"/>
                  <a:pt x="1243109" y="3073823"/>
                </a:cubicBezTo>
                <a:lnTo>
                  <a:pt x="1248918" y="3045437"/>
                </a:lnTo>
                <a:cubicBezTo>
                  <a:pt x="1250793" y="3045823"/>
                  <a:pt x="1252669" y="3046209"/>
                  <a:pt x="1254562" y="3046577"/>
                </a:cubicBezTo>
                <a:lnTo>
                  <a:pt x="1248863" y="3074981"/>
                </a:lnTo>
                <a:close/>
                <a:moveTo>
                  <a:pt x="1874563" y="3071580"/>
                </a:moveTo>
                <a:lnTo>
                  <a:pt x="1868533" y="3043231"/>
                </a:lnTo>
                <a:cubicBezTo>
                  <a:pt x="1870408" y="3042826"/>
                  <a:pt x="1872283" y="3042422"/>
                  <a:pt x="1874158" y="3042018"/>
                </a:cubicBezTo>
                <a:lnTo>
                  <a:pt x="1880299" y="3070330"/>
                </a:lnTo>
                <a:cubicBezTo>
                  <a:pt x="1878387" y="3070734"/>
                  <a:pt x="1876475" y="3071157"/>
                  <a:pt x="1874563" y="3071562"/>
                </a:cubicBezTo>
                <a:close/>
                <a:moveTo>
                  <a:pt x="1228769" y="3070826"/>
                </a:moveTo>
                <a:cubicBezTo>
                  <a:pt x="1226857" y="3070422"/>
                  <a:pt x="1224963" y="3069999"/>
                  <a:pt x="1223051" y="3069594"/>
                </a:cubicBezTo>
                <a:lnTo>
                  <a:pt x="1229210" y="3041282"/>
                </a:lnTo>
                <a:cubicBezTo>
                  <a:pt x="1231085" y="3041687"/>
                  <a:pt x="1232960" y="3042091"/>
                  <a:pt x="1234835" y="3042496"/>
                </a:cubicBezTo>
                <a:lnTo>
                  <a:pt x="1228769" y="3070826"/>
                </a:lnTo>
                <a:close/>
                <a:moveTo>
                  <a:pt x="1894602" y="3067168"/>
                </a:moveTo>
                <a:lnTo>
                  <a:pt x="1888204" y="3038911"/>
                </a:lnTo>
                <a:cubicBezTo>
                  <a:pt x="1890079" y="3038488"/>
                  <a:pt x="1891936" y="3038065"/>
                  <a:pt x="1893811" y="3037624"/>
                </a:cubicBezTo>
                <a:lnTo>
                  <a:pt x="1900338" y="3065862"/>
                </a:lnTo>
                <a:cubicBezTo>
                  <a:pt x="1898426" y="3066304"/>
                  <a:pt x="1896514" y="3066745"/>
                  <a:pt x="1894602" y="3067168"/>
                </a:cubicBezTo>
                <a:close/>
                <a:moveTo>
                  <a:pt x="1208748" y="3066396"/>
                </a:moveTo>
                <a:cubicBezTo>
                  <a:pt x="1206854" y="3065954"/>
                  <a:pt x="1204942" y="3065531"/>
                  <a:pt x="1203049" y="3065090"/>
                </a:cubicBezTo>
                <a:lnTo>
                  <a:pt x="1209575" y="3036870"/>
                </a:lnTo>
                <a:cubicBezTo>
                  <a:pt x="1211450" y="3037311"/>
                  <a:pt x="1213307" y="3037734"/>
                  <a:pt x="1215182" y="3038157"/>
                </a:cubicBezTo>
                <a:lnTo>
                  <a:pt x="1208729" y="3066414"/>
                </a:lnTo>
                <a:close/>
                <a:moveTo>
                  <a:pt x="1914586" y="3062498"/>
                </a:moveTo>
                <a:lnTo>
                  <a:pt x="1907820" y="3034333"/>
                </a:lnTo>
                <a:cubicBezTo>
                  <a:pt x="1909696" y="3033892"/>
                  <a:pt x="1911553" y="3033432"/>
                  <a:pt x="1913409" y="3032972"/>
                </a:cubicBezTo>
                <a:lnTo>
                  <a:pt x="1920285" y="3061119"/>
                </a:lnTo>
                <a:cubicBezTo>
                  <a:pt x="1918392" y="3061579"/>
                  <a:pt x="1916480" y="3062038"/>
                  <a:pt x="1914586" y="3062498"/>
                </a:cubicBezTo>
                <a:close/>
                <a:moveTo>
                  <a:pt x="1188801" y="3061726"/>
                </a:moveTo>
                <a:cubicBezTo>
                  <a:pt x="1186907" y="3061266"/>
                  <a:pt x="1185013" y="3060807"/>
                  <a:pt x="1183120" y="3060347"/>
                </a:cubicBezTo>
                <a:lnTo>
                  <a:pt x="1190014" y="3032200"/>
                </a:lnTo>
                <a:cubicBezTo>
                  <a:pt x="1191871" y="3032660"/>
                  <a:pt x="1193746" y="3033119"/>
                  <a:pt x="1195603" y="3033561"/>
                </a:cubicBezTo>
                <a:lnTo>
                  <a:pt x="1188801" y="3061726"/>
                </a:lnTo>
                <a:close/>
                <a:moveTo>
                  <a:pt x="1934515" y="3057571"/>
                </a:moveTo>
                <a:lnTo>
                  <a:pt x="1927363" y="3029498"/>
                </a:lnTo>
                <a:cubicBezTo>
                  <a:pt x="1929220" y="3029020"/>
                  <a:pt x="1931077" y="3028542"/>
                  <a:pt x="1932934" y="3028064"/>
                </a:cubicBezTo>
                <a:lnTo>
                  <a:pt x="1940196" y="3056118"/>
                </a:lnTo>
                <a:cubicBezTo>
                  <a:pt x="1938302" y="3056615"/>
                  <a:pt x="1936409" y="3057093"/>
                  <a:pt x="1934515" y="3057571"/>
                </a:cubicBezTo>
                <a:close/>
                <a:moveTo>
                  <a:pt x="1168908" y="3056780"/>
                </a:moveTo>
                <a:cubicBezTo>
                  <a:pt x="1167015" y="3056302"/>
                  <a:pt x="1165121" y="3055806"/>
                  <a:pt x="1163246" y="3055328"/>
                </a:cubicBezTo>
                <a:lnTo>
                  <a:pt x="1170526" y="3027273"/>
                </a:lnTo>
                <a:cubicBezTo>
                  <a:pt x="1172383" y="3027751"/>
                  <a:pt x="1174240" y="3028229"/>
                  <a:pt x="1176097" y="3028707"/>
                </a:cubicBezTo>
                <a:lnTo>
                  <a:pt x="1168927" y="3056780"/>
                </a:lnTo>
                <a:close/>
                <a:moveTo>
                  <a:pt x="1954352" y="3052368"/>
                </a:moveTo>
                <a:lnTo>
                  <a:pt x="1946851" y="3024387"/>
                </a:lnTo>
                <a:cubicBezTo>
                  <a:pt x="1948708" y="3023891"/>
                  <a:pt x="1950546" y="3023394"/>
                  <a:pt x="1952403" y="3022879"/>
                </a:cubicBezTo>
                <a:lnTo>
                  <a:pt x="1960033" y="3050824"/>
                </a:lnTo>
                <a:cubicBezTo>
                  <a:pt x="1958139" y="3051339"/>
                  <a:pt x="1956245" y="3051853"/>
                  <a:pt x="1954352" y="3052368"/>
                </a:cubicBezTo>
                <a:close/>
                <a:moveTo>
                  <a:pt x="1149072" y="3051559"/>
                </a:moveTo>
                <a:cubicBezTo>
                  <a:pt x="1147196" y="3051044"/>
                  <a:pt x="1145303" y="3050548"/>
                  <a:pt x="1143428" y="3050033"/>
                </a:cubicBezTo>
                <a:lnTo>
                  <a:pt x="1151057" y="3022089"/>
                </a:lnTo>
                <a:cubicBezTo>
                  <a:pt x="1152914" y="3022585"/>
                  <a:pt x="1154752" y="3023100"/>
                  <a:pt x="1156609" y="3023596"/>
                </a:cubicBezTo>
                <a:lnTo>
                  <a:pt x="1149053" y="3051559"/>
                </a:lnTo>
                <a:close/>
                <a:moveTo>
                  <a:pt x="1974152" y="3046908"/>
                </a:moveTo>
                <a:lnTo>
                  <a:pt x="1966265" y="3019037"/>
                </a:lnTo>
                <a:cubicBezTo>
                  <a:pt x="1968104" y="3018522"/>
                  <a:pt x="1969960" y="3017989"/>
                  <a:pt x="1971799" y="3017456"/>
                </a:cubicBezTo>
                <a:lnTo>
                  <a:pt x="1979796" y="3045308"/>
                </a:lnTo>
                <a:cubicBezTo>
                  <a:pt x="1977921" y="3045842"/>
                  <a:pt x="1976027" y="3046393"/>
                  <a:pt x="1974152" y="3046908"/>
                </a:cubicBezTo>
                <a:close/>
                <a:moveTo>
                  <a:pt x="1129326" y="3046099"/>
                </a:moveTo>
                <a:cubicBezTo>
                  <a:pt x="1127451" y="3045566"/>
                  <a:pt x="1125576" y="3045033"/>
                  <a:pt x="1123701" y="3044500"/>
                </a:cubicBezTo>
                <a:lnTo>
                  <a:pt x="1131698" y="3016647"/>
                </a:lnTo>
                <a:cubicBezTo>
                  <a:pt x="1133537" y="3017180"/>
                  <a:pt x="1135393" y="3017695"/>
                  <a:pt x="1137232" y="3018228"/>
                </a:cubicBezTo>
                <a:lnTo>
                  <a:pt x="1129326" y="3046099"/>
                </a:lnTo>
                <a:close/>
                <a:moveTo>
                  <a:pt x="1993860" y="3041190"/>
                </a:moveTo>
                <a:lnTo>
                  <a:pt x="1985606" y="3013411"/>
                </a:lnTo>
                <a:cubicBezTo>
                  <a:pt x="1987444" y="3012860"/>
                  <a:pt x="1989283" y="3012308"/>
                  <a:pt x="1991103" y="3011757"/>
                </a:cubicBezTo>
                <a:lnTo>
                  <a:pt x="1999486" y="3039499"/>
                </a:lnTo>
                <a:cubicBezTo>
                  <a:pt x="1997611" y="3040069"/>
                  <a:pt x="1995736" y="3040620"/>
                  <a:pt x="1993860" y="3041190"/>
                </a:cubicBezTo>
                <a:close/>
                <a:moveTo>
                  <a:pt x="1109655" y="3040381"/>
                </a:moveTo>
                <a:cubicBezTo>
                  <a:pt x="1107780" y="3039830"/>
                  <a:pt x="1105923" y="3039260"/>
                  <a:pt x="1104048" y="3038708"/>
                </a:cubicBezTo>
                <a:lnTo>
                  <a:pt x="1112413" y="3010966"/>
                </a:lnTo>
                <a:cubicBezTo>
                  <a:pt x="1114251" y="3011518"/>
                  <a:pt x="1116090" y="3012069"/>
                  <a:pt x="1117910" y="3012621"/>
                </a:cubicBezTo>
                <a:lnTo>
                  <a:pt x="1109637" y="3040381"/>
                </a:lnTo>
                <a:close/>
                <a:moveTo>
                  <a:pt x="2013495" y="3035197"/>
                </a:moveTo>
                <a:lnTo>
                  <a:pt x="2004873" y="3007528"/>
                </a:lnTo>
                <a:cubicBezTo>
                  <a:pt x="2006693" y="3006958"/>
                  <a:pt x="2008531" y="3006388"/>
                  <a:pt x="2010351" y="3005800"/>
                </a:cubicBezTo>
                <a:lnTo>
                  <a:pt x="2019084" y="3033432"/>
                </a:lnTo>
                <a:cubicBezTo>
                  <a:pt x="2017209" y="3034020"/>
                  <a:pt x="2015352" y="3034609"/>
                  <a:pt x="2013476" y="3035197"/>
                </a:cubicBezTo>
                <a:close/>
                <a:moveTo>
                  <a:pt x="1090057" y="3034406"/>
                </a:moveTo>
                <a:cubicBezTo>
                  <a:pt x="1088200" y="3033818"/>
                  <a:pt x="1086325" y="3033248"/>
                  <a:pt x="1084468" y="3032642"/>
                </a:cubicBezTo>
                <a:lnTo>
                  <a:pt x="1093201" y="3005010"/>
                </a:lnTo>
                <a:cubicBezTo>
                  <a:pt x="1095021" y="3005579"/>
                  <a:pt x="1096859" y="3006168"/>
                  <a:pt x="1098679" y="3006738"/>
                </a:cubicBezTo>
                <a:lnTo>
                  <a:pt x="1090057" y="3034388"/>
                </a:lnTo>
                <a:close/>
                <a:moveTo>
                  <a:pt x="2033056" y="3028946"/>
                </a:moveTo>
                <a:lnTo>
                  <a:pt x="2024066" y="3001406"/>
                </a:lnTo>
                <a:cubicBezTo>
                  <a:pt x="2025886" y="3000818"/>
                  <a:pt x="2027725" y="3000211"/>
                  <a:pt x="2029545" y="2999604"/>
                </a:cubicBezTo>
                <a:lnTo>
                  <a:pt x="2038627" y="3027108"/>
                </a:lnTo>
                <a:cubicBezTo>
                  <a:pt x="2036770" y="3027714"/>
                  <a:pt x="2034913" y="3028339"/>
                  <a:pt x="2033056" y="3028946"/>
                </a:cubicBezTo>
                <a:close/>
                <a:moveTo>
                  <a:pt x="1070533" y="3028174"/>
                </a:moveTo>
                <a:cubicBezTo>
                  <a:pt x="1068676" y="3027567"/>
                  <a:pt x="1066819" y="3026961"/>
                  <a:pt x="1064962" y="3026354"/>
                </a:cubicBezTo>
                <a:lnTo>
                  <a:pt x="1074063" y="2998851"/>
                </a:lnTo>
                <a:cubicBezTo>
                  <a:pt x="1075883" y="2999457"/>
                  <a:pt x="1077703" y="3000046"/>
                  <a:pt x="1079523" y="3000652"/>
                </a:cubicBezTo>
                <a:lnTo>
                  <a:pt x="1070533" y="3028192"/>
                </a:lnTo>
                <a:close/>
                <a:moveTo>
                  <a:pt x="2052507" y="3022438"/>
                </a:moveTo>
                <a:lnTo>
                  <a:pt x="2043149" y="2995008"/>
                </a:lnTo>
                <a:cubicBezTo>
                  <a:pt x="2044969" y="2994383"/>
                  <a:pt x="2046771" y="2993777"/>
                  <a:pt x="2048591" y="2993133"/>
                </a:cubicBezTo>
                <a:lnTo>
                  <a:pt x="2058059" y="3020508"/>
                </a:lnTo>
                <a:cubicBezTo>
                  <a:pt x="2056202" y="3021151"/>
                  <a:pt x="2054345" y="3021776"/>
                  <a:pt x="2052507" y="3022420"/>
                </a:cubicBezTo>
                <a:close/>
                <a:moveTo>
                  <a:pt x="1051100" y="3021684"/>
                </a:moveTo>
                <a:cubicBezTo>
                  <a:pt x="1049262" y="3021059"/>
                  <a:pt x="1047405" y="3020416"/>
                  <a:pt x="1045566" y="3019791"/>
                </a:cubicBezTo>
                <a:lnTo>
                  <a:pt x="1055016" y="2992398"/>
                </a:lnTo>
                <a:cubicBezTo>
                  <a:pt x="1056818" y="2993023"/>
                  <a:pt x="1058638" y="2993648"/>
                  <a:pt x="1060440" y="2994255"/>
                </a:cubicBezTo>
                <a:lnTo>
                  <a:pt x="1051082" y="3021684"/>
                </a:lnTo>
                <a:close/>
                <a:moveTo>
                  <a:pt x="2071903" y="3015672"/>
                </a:moveTo>
                <a:lnTo>
                  <a:pt x="2062196" y="2988371"/>
                </a:lnTo>
                <a:cubicBezTo>
                  <a:pt x="2063997" y="2987728"/>
                  <a:pt x="2065799" y="2987085"/>
                  <a:pt x="2067601" y="2986423"/>
                </a:cubicBezTo>
                <a:lnTo>
                  <a:pt x="2077436" y="3013669"/>
                </a:lnTo>
                <a:cubicBezTo>
                  <a:pt x="2075598" y="3014330"/>
                  <a:pt x="2073741" y="3014992"/>
                  <a:pt x="2071903" y="3015654"/>
                </a:cubicBezTo>
                <a:close/>
                <a:moveTo>
                  <a:pt x="1031760" y="3014937"/>
                </a:moveTo>
                <a:cubicBezTo>
                  <a:pt x="1029921" y="3014275"/>
                  <a:pt x="1028083" y="3013632"/>
                  <a:pt x="1026244" y="3012970"/>
                </a:cubicBezTo>
                <a:lnTo>
                  <a:pt x="1036062" y="2985706"/>
                </a:lnTo>
                <a:cubicBezTo>
                  <a:pt x="1037863" y="2986349"/>
                  <a:pt x="1039665" y="2986993"/>
                  <a:pt x="1041467" y="2987636"/>
                </a:cubicBezTo>
                <a:lnTo>
                  <a:pt x="1031760" y="3014937"/>
                </a:lnTo>
                <a:close/>
                <a:moveTo>
                  <a:pt x="2091206" y="3008668"/>
                </a:moveTo>
                <a:lnTo>
                  <a:pt x="2081132" y="2981514"/>
                </a:lnTo>
                <a:cubicBezTo>
                  <a:pt x="2082933" y="2980852"/>
                  <a:pt x="2084717" y="2980172"/>
                  <a:pt x="2086518" y="2979510"/>
                </a:cubicBezTo>
                <a:lnTo>
                  <a:pt x="2096703" y="3006627"/>
                </a:lnTo>
                <a:cubicBezTo>
                  <a:pt x="2094865" y="3007308"/>
                  <a:pt x="2093045" y="3008006"/>
                  <a:pt x="2091206" y="3008686"/>
                </a:cubicBezTo>
                <a:close/>
                <a:moveTo>
                  <a:pt x="1012511" y="3007933"/>
                </a:moveTo>
                <a:cubicBezTo>
                  <a:pt x="1010673" y="3007252"/>
                  <a:pt x="1008853" y="3006572"/>
                  <a:pt x="1007032" y="3005892"/>
                </a:cubicBezTo>
                <a:lnTo>
                  <a:pt x="1017217" y="2978775"/>
                </a:lnTo>
                <a:cubicBezTo>
                  <a:pt x="1019001" y="2979455"/>
                  <a:pt x="1020802" y="2980117"/>
                  <a:pt x="1022604" y="2980779"/>
                </a:cubicBezTo>
                <a:lnTo>
                  <a:pt x="1012529" y="3007951"/>
                </a:lnTo>
                <a:close/>
                <a:moveTo>
                  <a:pt x="2110400" y="3001388"/>
                </a:moveTo>
                <a:lnTo>
                  <a:pt x="2099958" y="2974362"/>
                </a:lnTo>
                <a:cubicBezTo>
                  <a:pt x="2101741" y="2973664"/>
                  <a:pt x="2103524" y="2972984"/>
                  <a:pt x="2105326" y="2972285"/>
                </a:cubicBezTo>
                <a:lnTo>
                  <a:pt x="2115879" y="2999274"/>
                </a:lnTo>
                <a:cubicBezTo>
                  <a:pt x="2114059" y="2999991"/>
                  <a:pt x="2112220" y="3000689"/>
                  <a:pt x="2110400" y="3001406"/>
                </a:cubicBezTo>
                <a:close/>
                <a:moveTo>
                  <a:pt x="993354" y="3000689"/>
                </a:moveTo>
                <a:cubicBezTo>
                  <a:pt x="991534" y="2999991"/>
                  <a:pt x="989714" y="2999292"/>
                  <a:pt x="987912" y="2998575"/>
                </a:cubicBezTo>
                <a:lnTo>
                  <a:pt x="998429" y="2971586"/>
                </a:lnTo>
                <a:cubicBezTo>
                  <a:pt x="1000212" y="2972285"/>
                  <a:pt x="1001995" y="2972984"/>
                  <a:pt x="1003797" y="2973664"/>
                </a:cubicBezTo>
                <a:lnTo>
                  <a:pt x="993354" y="3000689"/>
                </a:lnTo>
                <a:close/>
                <a:moveTo>
                  <a:pt x="2129501" y="2993868"/>
                </a:moveTo>
                <a:lnTo>
                  <a:pt x="2118710" y="2966972"/>
                </a:lnTo>
                <a:cubicBezTo>
                  <a:pt x="2120493" y="2966255"/>
                  <a:pt x="2122276" y="2965538"/>
                  <a:pt x="2124060" y="2964821"/>
                </a:cubicBezTo>
                <a:lnTo>
                  <a:pt x="2134943" y="2991681"/>
                </a:lnTo>
                <a:cubicBezTo>
                  <a:pt x="2133123" y="2992416"/>
                  <a:pt x="2131322" y="2993151"/>
                  <a:pt x="2129501" y="2993868"/>
                </a:cubicBezTo>
                <a:close/>
                <a:moveTo>
                  <a:pt x="974290" y="2993188"/>
                </a:moveTo>
                <a:cubicBezTo>
                  <a:pt x="972469" y="2992471"/>
                  <a:pt x="970668" y="2991736"/>
                  <a:pt x="968866" y="2991001"/>
                </a:cubicBezTo>
                <a:lnTo>
                  <a:pt x="979750" y="2964141"/>
                </a:lnTo>
                <a:cubicBezTo>
                  <a:pt x="981515" y="2964858"/>
                  <a:pt x="983298" y="2965575"/>
                  <a:pt x="985081" y="2966292"/>
                </a:cubicBezTo>
                <a:lnTo>
                  <a:pt x="974308" y="2993188"/>
                </a:lnTo>
                <a:close/>
                <a:moveTo>
                  <a:pt x="2148493" y="2986092"/>
                </a:moveTo>
                <a:lnTo>
                  <a:pt x="2137370" y="2959342"/>
                </a:lnTo>
                <a:cubicBezTo>
                  <a:pt x="2139135" y="2958607"/>
                  <a:pt x="2140900" y="2957872"/>
                  <a:pt x="2142683" y="2957118"/>
                </a:cubicBezTo>
                <a:lnTo>
                  <a:pt x="2153935" y="2983812"/>
                </a:lnTo>
                <a:cubicBezTo>
                  <a:pt x="2152133" y="2984566"/>
                  <a:pt x="2150313" y="2985338"/>
                  <a:pt x="2148511" y="2986092"/>
                </a:cubicBezTo>
                <a:close/>
                <a:moveTo>
                  <a:pt x="955335" y="2985430"/>
                </a:moveTo>
                <a:cubicBezTo>
                  <a:pt x="953533" y="2984676"/>
                  <a:pt x="951732" y="2983923"/>
                  <a:pt x="949930" y="2983169"/>
                </a:cubicBezTo>
                <a:lnTo>
                  <a:pt x="961181" y="2956474"/>
                </a:lnTo>
                <a:cubicBezTo>
                  <a:pt x="962946" y="2957210"/>
                  <a:pt x="964711" y="2957963"/>
                  <a:pt x="966476" y="2958680"/>
                </a:cubicBezTo>
                <a:lnTo>
                  <a:pt x="955335" y="2985430"/>
                </a:lnTo>
                <a:close/>
                <a:moveTo>
                  <a:pt x="2167410" y="2978076"/>
                </a:moveTo>
                <a:lnTo>
                  <a:pt x="2155920" y="2951474"/>
                </a:lnTo>
                <a:cubicBezTo>
                  <a:pt x="2157685" y="2950720"/>
                  <a:pt x="2159432" y="2949948"/>
                  <a:pt x="2161197" y="2949176"/>
                </a:cubicBezTo>
                <a:lnTo>
                  <a:pt x="2172797" y="2975723"/>
                </a:lnTo>
                <a:cubicBezTo>
                  <a:pt x="2170995" y="2976514"/>
                  <a:pt x="2169212" y="2977286"/>
                  <a:pt x="2167410" y="2978058"/>
                </a:cubicBezTo>
                <a:close/>
                <a:moveTo>
                  <a:pt x="936473" y="2977451"/>
                </a:moveTo>
                <a:cubicBezTo>
                  <a:pt x="934689" y="2976679"/>
                  <a:pt x="932888" y="2975907"/>
                  <a:pt x="931104" y="2975116"/>
                </a:cubicBezTo>
                <a:lnTo>
                  <a:pt x="942687" y="2948550"/>
                </a:lnTo>
                <a:cubicBezTo>
                  <a:pt x="944433" y="2949323"/>
                  <a:pt x="946198" y="2950077"/>
                  <a:pt x="947944" y="2950830"/>
                </a:cubicBezTo>
                <a:lnTo>
                  <a:pt x="936454" y="2977433"/>
                </a:lnTo>
                <a:close/>
                <a:moveTo>
                  <a:pt x="2186200" y="2969803"/>
                </a:moveTo>
                <a:lnTo>
                  <a:pt x="2174360" y="2943366"/>
                </a:lnTo>
                <a:cubicBezTo>
                  <a:pt x="2176106" y="2942575"/>
                  <a:pt x="2177871" y="2941785"/>
                  <a:pt x="2179618" y="2940994"/>
                </a:cubicBezTo>
                <a:lnTo>
                  <a:pt x="2191568" y="2967395"/>
                </a:lnTo>
                <a:cubicBezTo>
                  <a:pt x="2189784" y="2968204"/>
                  <a:pt x="2188001" y="2969012"/>
                  <a:pt x="2186218" y="2969803"/>
                </a:cubicBezTo>
                <a:close/>
                <a:moveTo>
                  <a:pt x="917739" y="2969196"/>
                </a:moveTo>
                <a:cubicBezTo>
                  <a:pt x="915955" y="2968406"/>
                  <a:pt x="914190" y="2967597"/>
                  <a:pt x="912407" y="2966806"/>
                </a:cubicBezTo>
                <a:lnTo>
                  <a:pt x="924339" y="2940406"/>
                </a:lnTo>
                <a:cubicBezTo>
                  <a:pt x="926085" y="2941197"/>
                  <a:pt x="927832" y="2941987"/>
                  <a:pt x="929578" y="2942760"/>
                </a:cubicBezTo>
                <a:lnTo>
                  <a:pt x="917739" y="2969196"/>
                </a:lnTo>
                <a:close/>
                <a:moveTo>
                  <a:pt x="2204897" y="2961273"/>
                </a:moveTo>
                <a:lnTo>
                  <a:pt x="2192708" y="2934983"/>
                </a:lnTo>
                <a:cubicBezTo>
                  <a:pt x="2194454" y="2934174"/>
                  <a:pt x="2196182" y="2933365"/>
                  <a:pt x="2197929" y="2932556"/>
                </a:cubicBezTo>
                <a:lnTo>
                  <a:pt x="2210210" y="2958791"/>
                </a:lnTo>
                <a:cubicBezTo>
                  <a:pt x="2208445" y="2959618"/>
                  <a:pt x="2206662" y="2960445"/>
                  <a:pt x="2204897" y="2961273"/>
                </a:cubicBezTo>
                <a:close/>
                <a:moveTo>
                  <a:pt x="899097" y="2960721"/>
                </a:moveTo>
                <a:cubicBezTo>
                  <a:pt x="897332" y="2959894"/>
                  <a:pt x="895548" y="2959085"/>
                  <a:pt x="893784" y="2958258"/>
                </a:cubicBezTo>
                <a:lnTo>
                  <a:pt x="906064" y="2932023"/>
                </a:lnTo>
                <a:cubicBezTo>
                  <a:pt x="907793" y="2932832"/>
                  <a:pt x="909521" y="2933641"/>
                  <a:pt x="911267" y="2934450"/>
                </a:cubicBezTo>
                <a:lnTo>
                  <a:pt x="899097" y="2960739"/>
                </a:lnTo>
                <a:close/>
                <a:moveTo>
                  <a:pt x="2223465" y="2952522"/>
                </a:moveTo>
                <a:lnTo>
                  <a:pt x="2210945" y="2926397"/>
                </a:lnTo>
                <a:cubicBezTo>
                  <a:pt x="2212673" y="2925570"/>
                  <a:pt x="2214401" y="2924724"/>
                  <a:pt x="2216129" y="2923897"/>
                </a:cubicBezTo>
                <a:lnTo>
                  <a:pt x="2228741" y="2949985"/>
                </a:lnTo>
                <a:cubicBezTo>
                  <a:pt x="2226976" y="2950830"/>
                  <a:pt x="2225212" y="2951694"/>
                  <a:pt x="2223447" y="2952540"/>
                </a:cubicBezTo>
                <a:close/>
                <a:moveTo>
                  <a:pt x="880583" y="2951988"/>
                </a:moveTo>
                <a:cubicBezTo>
                  <a:pt x="878819" y="2951143"/>
                  <a:pt x="877072" y="2950297"/>
                  <a:pt x="875307" y="2949452"/>
                </a:cubicBezTo>
                <a:lnTo>
                  <a:pt x="887937" y="2923364"/>
                </a:lnTo>
                <a:cubicBezTo>
                  <a:pt x="889665" y="2924191"/>
                  <a:pt x="891375" y="2925037"/>
                  <a:pt x="893103" y="2925864"/>
                </a:cubicBezTo>
                <a:lnTo>
                  <a:pt x="880583" y="2951988"/>
                </a:lnTo>
                <a:close/>
                <a:moveTo>
                  <a:pt x="2241923" y="2943513"/>
                </a:moveTo>
                <a:lnTo>
                  <a:pt x="2229072" y="2917554"/>
                </a:lnTo>
                <a:cubicBezTo>
                  <a:pt x="2230543" y="2916837"/>
                  <a:pt x="2231995" y="2916102"/>
                  <a:pt x="2233466" y="2915366"/>
                </a:cubicBezTo>
                <a:lnTo>
                  <a:pt x="2234220" y="2914980"/>
                </a:lnTo>
                <a:lnTo>
                  <a:pt x="2247181" y="2940903"/>
                </a:lnTo>
                <a:lnTo>
                  <a:pt x="2246409" y="2941289"/>
                </a:lnTo>
                <a:cubicBezTo>
                  <a:pt x="2244901" y="2942042"/>
                  <a:pt x="2243412" y="2942778"/>
                  <a:pt x="2241923" y="2943532"/>
                </a:cubicBezTo>
                <a:close/>
                <a:moveTo>
                  <a:pt x="862180" y="2943017"/>
                </a:moveTo>
                <a:cubicBezTo>
                  <a:pt x="860434" y="2942153"/>
                  <a:pt x="858687" y="2941289"/>
                  <a:pt x="856941" y="2940406"/>
                </a:cubicBezTo>
                <a:lnTo>
                  <a:pt x="869902" y="2914502"/>
                </a:lnTo>
                <a:cubicBezTo>
                  <a:pt x="871612" y="2915366"/>
                  <a:pt x="873322" y="2916212"/>
                  <a:pt x="875031" y="2917058"/>
                </a:cubicBezTo>
                <a:lnTo>
                  <a:pt x="862162" y="2943017"/>
                </a:lnTo>
                <a:close/>
                <a:moveTo>
                  <a:pt x="2260252" y="2934284"/>
                </a:moveTo>
                <a:lnTo>
                  <a:pt x="2247034" y="2908491"/>
                </a:lnTo>
                <a:cubicBezTo>
                  <a:pt x="2248744" y="2907608"/>
                  <a:pt x="2250435" y="2906744"/>
                  <a:pt x="2252145" y="2905862"/>
                </a:cubicBezTo>
                <a:lnTo>
                  <a:pt x="2265437" y="2931600"/>
                </a:lnTo>
                <a:cubicBezTo>
                  <a:pt x="2263709" y="2932501"/>
                  <a:pt x="2261981" y="2933383"/>
                  <a:pt x="2260234" y="2934266"/>
                </a:cubicBezTo>
                <a:close/>
                <a:moveTo>
                  <a:pt x="843906" y="2933806"/>
                </a:moveTo>
                <a:cubicBezTo>
                  <a:pt x="842178" y="2932924"/>
                  <a:pt x="840432" y="2932023"/>
                  <a:pt x="838703" y="2931122"/>
                </a:cubicBezTo>
                <a:lnTo>
                  <a:pt x="852014" y="2905384"/>
                </a:lnTo>
                <a:cubicBezTo>
                  <a:pt x="853705" y="2906266"/>
                  <a:pt x="855415" y="2907130"/>
                  <a:pt x="857106" y="2908013"/>
                </a:cubicBezTo>
                <a:lnTo>
                  <a:pt x="843906" y="2933806"/>
                </a:lnTo>
                <a:close/>
                <a:moveTo>
                  <a:pt x="2278398" y="2924853"/>
                </a:moveTo>
                <a:lnTo>
                  <a:pt x="2264867" y="2899225"/>
                </a:lnTo>
                <a:cubicBezTo>
                  <a:pt x="2266558" y="2898342"/>
                  <a:pt x="2268250" y="2897442"/>
                  <a:pt x="2269923" y="2896541"/>
                </a:cubicBezTo>
                <a:lnTo>
                  <a:pt x="2283564" y="2922113"/>
                </a:lnTo>
                <a:cubicBezTo>
                  <a:pt x="2281854" y="2923033"/>
                  <a:pt x="2280126" y="2923934"/>
                  <a:pt x="2278398" y="2924853"/>
                </a:cubicBezTo>
                <a:close/>
                <a:moveTo>
                  <a:pt x="825742" y="2924357"/>
                </a:moveTo>
                <a:cubicBezTo>
                  <a:pt x="824014" y="2923437"/>
                  <a:pt x="822304" y="2922536"/>
                  <a:pt x="820576" y="2921617"/>
                </a:cubicBezTo>
                <a:lnTo>
                  <a:pt x="834218" y="2896063"/>
                </a:lnTo>
                <a:cubicBezTo>
                  <a:pt x="835909" y="2896964"/>
                  <a:pt x="837600" y="2897864"/>
                  <a:pt x="839273" y="2898747"/>
                </a:cubicBezTo>
                <a:lnTo>
                  <a:pt x="825724" y="2924357"/>
                </a:lnTo>
                <a:close/>
                <a:moveTo>
                  <a:pt x="2296396" y="2915201"/>
                </a:moveTo>
                <a:lnTo>
                  <a:pt x="2282535" y="2889757"/>
                </a:lnTo>
                <a:cubicBezTo>
                  <a:pt x="2284208" y="2888856"/>
                  <a:pt x="2285881" y="2887937"/>
                  <a:pt x="2287535" y="2887017"/>
                </a:cubicBezTo>
                <a:lnTo>
                  <a:pt x="2301507" y="2912407"/>
                </a:lnTo>
                <a:cubicBezTo>
                  <a:pt x="2299798" y="2913344"/>
                  <a:pt x="2298088" y="2914282"/>
                  <a:pt x="2296378" y="2915219"/>
                </a:cubicBezTo>
                <a:close/>
                <a:moveTo>
                  <a:pt x="807707" y="2914668"/>
                </a:moveTo>
                <a:cubicBezTo>
                  <a:pt x="805997" y="2913730"/>
                  <a:pt x="804288" y="2912793"/>
                  <a:pt x="802578" y="2911855"/>
                </a:cubicBezTo>
                <a:lnTo>
                  <a:pt x="816550" y="2886466"/>
                </a:lnTo>
                <a:cubicBezTo>
                  <a:pt x="818223" y="2887385"/>
                  <a:pt x="819896" y="2888304"/>
                  <a:pt x="821587" y="2889224"/>
                </a:cubicBezTo>
                <a:lnTo>
                  <a:pt x="807707" y="2914649"/>
                </a:lnTo>
                <a:close/>
                <a:moveTo>
                  <a:pt x="2314303" y="2905292"/>
                </a:moveTo>
                <a:lnTo>
                  <a:pt x="2300129" y="2880031"/>
                </a:lnTo>
                <a:cubicBezTo>
                  <a:pt x="2301802" y="2879094"/>
                  <a:pt x="2303456" y="2878156"/>
                  <a:pt x="2305129" y="2877219"/>
                </a:cubicBezTo>
                <a:lnTo>
                  <a:pt x="2319432" y="2902424"/>
                </a:lnTo>
                <a:cubicBezTo>
                  <a:pt x="2317723" y="2903398"/>
                  <a:pt x="2316031" y="2904354"/>
                  <a:pt x="2314321" y="2905310"/>
                </a:cubicBezTo>
                <a:close/>
                <a:moveTo>
                  <a:pt x="789819" y="2904740"/>
                </a:moveTo>
                <a:cubicBezTo>
                  <a:pt x="788128" y="2903784"/>
                  <a:pt x="786418" y="2902828"/>
                  <a:pt x="784726" y="2901854"/>
                </a:cubicBezTo>
                <a:lnTo>
                  <a:pt x="799030" y="2876667"/>
                </a:lnTo>
                <a:cubicBezTo>
                  <a:pt x="800684" y="2877605"/>
                  <a:pt x="802357" y="2878561"/>
                  <a:pt x="804012" y="2879498"/>
                </a:cubicBezTo>
                <a:lnTo>
                  <a:pt x="789800" y="2904740"/>
                </a:lnTo>
                <a:close/>
                <a:moveTo>
                  <a:pt x="2332099" y="2895125"/>
                </a:moveTo>
                <a:lnTo>
                  <a:pt x="2317557" y="2870067"/>
                </a:lnTo>
                <a:cubicBezTo>
                  <a:pt x="2319212" y="2869111"/>
                  <a:pt x="2320866" y="2868136"/>
                  <a:pt x="2322521" y="2867181"/>
                </a:cubicBezTo>
                <a:lnTo>
                  <a:pt x="2337137" y="2892202"/>
                </a:lnTo>
                <a:cubicBezTo>
                  <a:pt x="2335445" y="2893195"/>
                  <a:pt x="2333772" y="2894169"/>
                  <a:pt x="2332081" y="2895143"/>
                </a:cubicBezTo>
                <a:close/>
                <a:moveTo>
                  <a:pt x="772041" y="2894592"/>
                </a:moveTo>
                <a:cubicBezTo>
                  <a:pt x="770350" y="2893617"/>
                  <a:pt x="768677" y="2892625"/>
                  <a:pt x="766985" y="2891650"/>
                </a:cubicBezTo>
                <a:lnTo>
                  <a:pt x="781638" y="2866647"/>
                </a:lnTo>
                <a:cubicBezTo>
                  <a:pt x="783292" y="2867622"/>
                  <a:pt x="784929" y="2868578"/>
                  <a:pt x="786583" y="2869534"/>
                </a:cubicBezTo>
                <a:lnTo>
                  <a:pt x="772041" y="2894592"/>
                </a:lnTo>
                <a:close/>
                <a:moveTo>
                  <a:pt x="2349748" y="2884738"/>
                </a:moveTo>
                <a:lnTo>
                  <a:pt x="2334912" y="2859845"/>
                </a:lnTo>
                <a:cubicBezTo>
                  <a:pt x="2336548" y="2858871"/>
                  <a:pt x="2338185" y="2857878"/>
                  <a:pt x="2339821" y="2856904"/>
                </a:cubicBezTo>
                <a:lnTo>
                  <a:pt x="2354767" y="2881723"/>
                </a:lnTo>
                <a:cubicBezTo>
                  <a:pt x="2353094" y="2882734"/>
                  <a:pt x="2351422" y="2883745"/>
                  <a:pt x="2349730" y="2884738"/>
                </a:cubicBezTo>
                <a:close/>
                <a:moveTo>
                  <a:pt x="754410" y="2884205"/>
                </a:moveTo>
                <a:cubicBezTo>
                  <a:pt x="752737" y="2883212"/>
                  <a:pt x="751064" y="2882201"/>
                  <a:pt x="749391" y="2881190"/>
                </a:cubicBezTo>
                <a:lnTo>
                  <a:pt x="764356" y="2856389"/>
                </a:lnTo>
                <a:cubicBezTo>
                  <a:pt x="765992" y="2857382"/>
                  <a:pt x="767629" y="2858356"/>
                  <a:pt x="769265" y="2859349"/>
                </a:cubicBezTo>
                <a:lnTo>
                  <a:pt x="754392" y="2884223"/>
                </a:lnTo>
                <a:close/>
                <a:moveTo>
                  <a:pt x="2367287" y="2874111"/>
                </a:moveTo>
                <a:lnTo>
                  <a:pt x="2352102" y="2849440"/>
                </a:lnTo>
                <a:cubicBezTo>
                  <a:pt x="2353738" y="2848428"/>
                  <a:pt x="2355356" y="2847435"/>
                  <a:pt x="2356992" y="2846424"/>
                </a:cubicBezTo>
                <a:lnTo>
                  <a:pt x="2372270" y="2871041"/>
                </a:lnTo>
                <a:cubicBezTo>
                  <a:pt x="2370615" y="2872071"/>
                  <a:pt x="2368960" y="2873100"/>
                  <a:pt x="2367287" y="2874111"/>
                </a:cubicBezTo>
                <a:close/>
                <a:moveTo>
                  <a:pt x="736927" y="2873578"/>
                </a:moveTo>
                <a:cubicBezTo>
                  <a:pt x="735272" y="2872549"/>
                  <a:pt x="733617" y="2871538"/>
                  <a:pt x="731963" y="2870508"/>
                </a:cubicBezTo>
                <a:lnTo>
                  <a:pt x="747259" y="2845891"/>
                </a:lnTo>
                <a:cubicBezTo>
                  <a:pt x="748876" y="2846902"/>
                  <a:pt x="750513" y="2847913"/>
                  <a:pt x="752149" y="2848906"/>
                </a:cubicBezTo>
                <a:lnTo>
                  <a:pt x="736945" y="2873578"/>
                </a:lnTo>
                <a:close/>
                <a:moveTo>
                  <a:pt x="2384661" y="2863265"/>
                </a:moveTo>
                <a:lnTo>
                  <a:pt x="2369163" y="2838776"/>
                </a:lnTo>
                <a:cubicBezTo>
                  <a:pt x="2370781" y="2837747"/>
                  <a:pt x="2372398" y="2836736"/>
                  <a:pt x="2374016" y="2835688"/>
                </a:cubicBezTo>
                <a:lnTo>
                  <a:pt x="2389606" y="2860102"/>
                </a:lnTo>
                <a:cubicBezTo>
                  <a:pt x="2387970" y="2861150"/>
                  <a:pt x="2386315" y="2862198"/>
                  <a:pt x="2384661" y="2863246"/>
                </a:cubicBezTo>
                <a:close/>
                <a:moveTo>
                  <a:pt x="719571" y="2862732"/>
                </a:moveTo>
                <a:cubicBezTo>
                  <a:pt x="717935" y="2861683"/>
                  <a:pt x="716281" y="2860636"/>
                  <a:pt x="714644" y="2859588"/>
                </a:cubicBezTo>
                <a:lnTo>
                  <a:pt x="730253" y="2835173"/>
                </a:lnTo>
                <a:cubicBezTo>
                  <a:pt x="731871" y="2836203"/>
                  <a:pt x="733470" y="2837232"/>
                  <a:pt x="735088" y="2838262"/>
                </a:cubicBezTo>
                <a:lnTo>
                  <a:pt x="719553" y="2862732"/>
                </a:lnTo>
                <a:close/>
                <a:moveTo>
                  <a:pt x="2401924" y="2852197"/>
                </a:moveTo>
                <a:lnTo>
                  <a:pt x="2386076" y="2827929"/>
                </a:lnTo>
                <a:cubicBezTo>
                  <a:pt x="2387694" y="2826882"/>
                  <a:pt x="2389294" y="2825834"/>
                  <a:pt x="2390893" y="2824767"/>
                </a:cubicBezTo>
                <a:lnTo>
                  <a:pt x="2406796" y="2848980"/>
                </a:lnTo>
                <a:cubicBezTo>
                  <a:pt x="2405178" y="2850046"/>
                  <a:pt x="2403542" y="2851112"/>
                  <a:pt x="2401905" y="2852179"/>
                </a:cubicBezTo>
                <a:close/>
                <a:moveTo>
                  <a:pt x="702382" y="2851664"/>
                </a:moveTo>
                <a:cubicBezTo>
                  <a:pt x="700746" y="2850598"/>
                  <a:pt x="699128" y="2849531"/>
                  <a:pt x="697492" y="2848447"/>
                </a:cubicBezTo>
                <a:lnTo>
                  <a:pt x="713431" y="2824253"/>
                </a:lnTo>
                <a:cubicBezTo>
                  <a:pt x="715031" y="2825301"/>
                  <a:pt x="716630" y="2826348"/>
                  <a:pt x="718211" y="2827396"/>
                </a:cubicBezTo>
                <a:lnTo>
                  <a:pt x="702364" y="2851646"/>
                </a:lnTo>
                <a:close/>
                <a:moveTo>
                  <a:pt x="2419003" y="2840891"/>
                </a:moveTo>
                <a:lnTo>
                  <a:pt x="2402843" y="2816825"/>
                </a:lnTo>
                <a:cubicBezTo>
                  <a:pt x="2404443" y="2815759"/>
                  <a:pt x="2406024" y="2814693"/>
                  <a:pt x="2407623" y="2813608"/>
                </a:cubicBezTo>
                <a:lnTo>
                  <a:pt x="2423857" y="2837618"/>
                </a:lnTo>
                <a:cubicBezTo>
                  <a:pt x="2422239" y="2838703"/>
                  <a:pt x="2420621" y="2839806"/>
                  <a:pt x="2419003" y="2840891"/>
                </a:cubicBezTo>
                <a:close/>
                <a:moveTo>
                  <a:pt x="685321" y="2840357"/>
                </a:moveTo>
                <a:cubicBezTo>
                  <a:pt x="683703" y="2839273"/>
                  <a:pt x="682085" y="2838188"/>
                  <a:pt x="680486" y="2837085"/>
                </a:cubicBezTo>
                <a:lnTo>
                  <a:pt x="696738" y="2813093"/>
                </a:lnTo>
                <a:cubicBezTo>
                  <a:pt x="698319" y="2814159"/>
                  <a:pt x="699900" y="2815244"/>
                  <a:pt x="701500" y="2816292"/>
                </a:cubicBezTo>
                <a:lnTo>
                  <a:pt x="685339" y="2840339"/>
                </a:lnTo>
                <a:close/>
                <a:moveTo>
                  <a:pt x="2435935" y="2829364"/>
                </a:moveTo>
                <a:lnTo>
                  <a:pt x="2419481" y="2805519"/>
                </a:lnTo>
                <a:cubicBezTo>
                  <a:pt x="2421062" y="2804434"/>
                  <a:pt x="2422643" y="2803331"/>
                  <a:pt x="2424206" y="2802246"/>
                </a:cubicBezTo>
                <a:lnTo>
                  <a:pt x="2440752" y="2826036"/>
                </a:lnTo>
                <a:cubicBezTo>
                  <a:pt x="2439153" y="2827157"/>
                  <a:pt x="2437553" y="2828260"/>
                  <a:pt x="2435935" y="2829364"/>
                </a:cubicBezTo>
                <a:close/>
                <a:moveTo>
                  <a:pt x="668426" y="2828830"/>
                </a:moveTo>
                <a:cubicBezTo>
                  <a:pt x="666826" y="2827727"/>
                  <a:pt x="665227" y="2826606"/>
                  <a:pt x="663627" y="2825503"/>
                </a:cubicBezTo>
                <a:lnTo>
                  <a:pt x="680192" y="2801731"/>
                </a:lnTo>
                <a:cubicBezTo>
                  <a:pt x="681755" y="2802835"/>
                  <a:pt x="683336" y="2803919"/>
                  <a:pt x="684898" y="2805004"/>
                </a:cubicBezTo>
                <a:lnTo>
                  <a:pt x="668407" y="2828830"/>
                </a:lnTo>
                <a:close/>
                <a:moveTo>
                  <a:pt x="2452720" y="2817616"/>
                </a:moveTo>
                <a:lnTo>
                  <a:pt x="2435954" y="2793992"/>
                </a:lnTo>
                <a:cubicBezTo>
                  <a:pt x="2437516" y="2792889"/>
                  <a:pt x="2439079" y="2791767"/>
                  <a:pt x="2440623" y="2790664"/>
                </a:cubicBezTo>
                <a:lnTo>
                  <a:pt x="2457482" y="2814233"/>
                </a:lnTo>
                <a:cubicBezTo>
                  <a:pt x="2455901" y="2815373"/>
                  <a:pt x="2454301" y="2816494"/>
                  <a:pt x="2452702" y="2817634"/>
                </a:cubicBezTo>
                <a:close/>
                <a:moveTo>
                  <a:pt x="651696" y="2817101"/>
                </a:moveTo>
                <a:cubicBezTo>
                  <a:pt x="650115" y="2815980"/>
                  <a:pt x="648515" y="2814840"/>
                  <a:pt x="646934" y="2813700"/>
                </a:cubicBezTo>
                <a:lnTo>
                  <a:pt x="663830" y="2790168"/>
                </a:lnTo>
                <a:cubicBezTo>
                  <a:pt x="665374" y="2791289"/>
                  <a:pt x="666937" y="2792392"/>
                  <a:pt x="668481" y="2793495"/>
                </a:cubicBezTo>
                <a:lnTo>
                  <a:pt x="651696" y="2817101"/>
                </a:lnTo>
                <a:close/>
                <a:moveTo>
                  <a:pt x="2469359" y="2805647"/>
                </a:moveTo>
                <a:lnTo>
                  <a:pt x="2452298" y="2782226"/>
                </a:lnTo>
                <a:cubicBezTo>
                  <a:pt x="2453842" y="2781104"/>
                  <a:pt x="2455386" y="2779964"/>
                  <a:pt x="2456931" y="2778843"/>
                </a:cubicBezTo>
                <a:lnTo>
                  <a:pt x="2474102" y="2802173"/>
                </a:lnTo>
                <a:cubicBezTo>
                  <a:pt x="2472521" y="2803331"/>
                  <a:pt x="2470940" y="2804489"/>
                  <a:pt x="2469377" y="2805647"/>
                </a:cubicBezTo>
                <a:close/>
                <a:moveTo>
                  <a:pt x="635094" y="2805133"/>
                </a:moveTo>
                <a:cubicBezTo>
                  <a:pt x="633532" y="2803975"/>
                  <a:pt x="631951" y="2802835"/>
                  <a:pt x="630388" y="2801677"/>
                </a:cubicBezTo>
                <a:lnTo>
                  <a:pt x="647578" y="2778346"/>
                </a:lnTo>
                <a:cubicBezTo>
                  <a:pt x="649122" y="2779486"/>
                  <a:pt x="650648" y="2780608"/>
                  <a:pt x="652192" y="2781747"/>
                </a:cubicBezTo>
                <a:lnTo>
                  <a:pt x="635094" y="2805133"/>
                </a:lnTo>
                <a:close/>
                <a:moveTo>
                  <a:pt x="2485831" y="2793458"/>
                </a:moveTo>
                <a:lnTo>
                  <a:pt x="2468421" y="2770294"/>
                </a:lnTo>
                <a:cubicBezTo>
                  <a:pt x="2469965" y="2769136"/>
                  <a:pt x="2471491" y="2767977"/>
                  <a:pt x="2473017" y="2766838"/>
                </a:cubicBezTo>
                <a:lnTo>
                  <a:pt x="2490482" y="2789947"/>
                </a:lnTo>
                <a:cubicBezTo>
                  <a:pt x="2488938" y="2791124"/>
                  <a:pt x="2487375" y="2792300"/>
                  <a:pt x="2485813" y="2793458"/>
                </a:cubicBezTo>
                <a:close/>
                <a:moveTo>
                  <a:pt x="618677" y="2792962"/>
                </a:moveTo>
                <a:cubicBezTo>
                  <a:pt x="617114" y="2791786"/>
                  <a:pt x="615570" y="2790627"/>
                  <a:pt x="614026" y="2789451"/>
                </a:cubicBezTo>
                <a:lnTo>
                  <a:pt x="631510" y="2766341"/>
                </a:lnTo>
                <a:cubicBezTo>
                  <a:pt x="633035" y="2767499"/>
                  <a:pt x="634561" y="2768639"/>
                  <a:pt x="636087" y="2769798"/>
                </a:cubicBezTo>
                <a:lnTo>
                  <a:pt x="618677" y="2792962"/>
                </a:lnTo>
                <a:close/>
                <a:moveTo>
                  <a:pt x="2502138" y="2781049"/>
                </a:moveTo>
                <a:lnTo>
                  <a:pt x="2484434" y="2758105"/>
                </a:lnTo>
                <a:cubicBezTo>
                  <a:pt x="2485960" y="2756928"/>
                  <a:pt x="2487467" y="2755752"/>
                  <a:pt x="2488993" y="2754575"/>
                </a:cubicBezTo>
                <a:lnTo>
                  <a:pt x="2506771" y="2777464"/>
                </a:lnTo>
                <a:cubicBezTo>
                  <a:pt x="2505227" y="2778659"/>
                  <a:pt x="2503682" y="2779854"/>
                  <a:pt x="2502156" y="2781049"/>
                </a:cubicBezTo>
                <a:close/>
                <a:moveTo>
                  <a:pt x="602425" y="2780571"/>
                </a:moveTo>
                <a:cubicBezTo>
                  <a:pt x="600881" y="2779376"/>
                  <a:pt x="599337" y="2778181"/>
                  <a:pt x="597811" y="2776986"/>
                </a:cubicBezTo>
                <a:lnTo>
                  <a:pt x="615625" y="2754134"/>
                </a:lnTo>
                <a:cubicBezTo>
                  <a:pt x="617133" y="2755311"/>
                  <a:pt x="618640" y="2756469"/>
                  <a:pt x="620148" y="2757645"/>
                </a:cubicBezTo>
                <a:lnTo>
                  <a:pt x="602444" y="2780571"/>
                </a:lnTo>
                <a:close/>
                <a:moveTo>
                  <a:pt x="2518280" y="2768437"/>
                </a:moveTo>
                <a:lnTo>
                  <a:pt x="2500281" y="2745732"/>
                </a:lnTo>
                <a:cubicBezTo>
                  <a:pt x="2501789" y="2744537"/>
                  <a:pt x="2503278" y="2743361"/>
                  <a:pt x="2504767" y="2742166"/>
                </a:cubicBezTo>
                <a:lnTo>
                  <a:pt x="2522858" y="2764797"/>
                </a:lnTo>
                <a:cubicBezTo>
                  <a:pt x="2521331" y="2766010"/>
                  <a:pt x="2519806" y="2767242"/>
                  <a:pt x="2518261" y="2768456"/>
                </a:cubicBezTo>
                <a:close/>
                <a:moveTo>
                  <a:pt x="586320" y="2767959"/>
                </a:moveTo>
                <a:cubicBezTo>
                  <a:pt x="584794" y="2766746"/>
                  <a:pt x="583268" y="2765532"/>
                  <a:pt x="581743" y="2764319"/>
                </a:cubicBezTo>
                <a:lnTo>
                  <a:pt x="599851" y="2741706"/>
                </a:lnTo>
                <a:cubicBezTo>
                  <a:pt x="601340" y="2742901"/>
                  <a:pt x="602830" y="2744096"/>
                  <a:pt x="604337" y="2745273"/>
                </a:cubicBezTo>
                <a:lnTo>
                  <a:pt x="586320" y="2767959"/>
                </a:lnTo>
                <a:close/>
                <a:moveTo>
                  <a:pt x="2534256" y="2755586"/>
                </a:moveTo>
                <a:lnTo>
                  <a:pt x="2515963" y="2733120"/>
                </a:lnTo>
                <a:cubicBezTo>
                  <a:pt x="2517452" y="2731907"/>
                  <a:pt x="2518923" y="2730694"/>
                  <a:pt x="2520412" y="2729480"/>
                </a:cubicBezTo>
                <a:lnTo>
                  <a:pt x="2538797" y="2751873"/>
                </a:lnTo>
                <a:cubicBezTo>
                  <a:pt x="2537289" y="2753104"/>
                  <a:pt x="2535782" y="2754354"/>
                  <a:pt x="2534256" y="2755586"/>
                </a:cubicBezTo>
                <a:close/>
                <a:moveTo>
                  <a:pt x="570399" y="2755145"/>
                </a:moveTo>
                <a:cubicBezTo>
                  <a:pt x="568892" y="2753913"/>
                  <a:pt x="567384" y="2752682"/>
                  <a:pt x="565877" y="2751450"/>
                </a:cubicBezTo>
                <a:lnTo>
                  <a:pt x="584280" y="2729076"/>
                </a:lnTo>
                <a:cubicBezTo>
                  <a:pt x="585750" y="2730289"/>
                  <a:pt x="587221" y="2731503"/>
                  <a:pt x="588710" y="2732698"/>
                </a:cubicBezTo>
                <a:lnTo>
                  <a:pt x="570399" y="2755145"/>
                </a:lnTo>
                <a:close/>
                <a:moveTo>
                  <a:pt x="2550067" y="2742552"/>
                </a:moveTo>
                <a:lnTo>
                  <a:pt x="2531480" y="2720325"/>
                </a:lnTo>
                <a:cubicBezTo>
                  <a:pt x="2532951" y="2719093"/>
                  <a:pt x="2534403" y="2717861"/>
                  <a:pt x="2535874" y="2716630"/>
                </a:cubicBezTo>
                <a:lnTo>
                  <a:pt x="2554552" y="2738783"/>
                </a:lnTo>
                <a:cubicBezTo>
                  <a:pt x="2553063" y="2740051"/>
                  <a:pt x="2551556" y="2741301"/>
                  <a:pt x="2550067" y="2742552"/>
                </a:cubicBezTo>
                <a:close/>
                <a:moveTo>
                  <a:pt x="554662" y="2742129"/>
                </a:moveTo>
                <a:cubicBezTo>
                  <a:pt x="553173" y="2740879"/>
                  <a:pt x="551684" y="2739629"/>
                  <a:pt x="550195" y="2738378"/>
                </a:cubicBezTo>
                <a:lnTo>
                  <a:pt x="568892" y="2716243"/>
                </a:lnTo>
                <a:cubicBezTo>
                  <a:pt x="570344" y="2717475"/>
                  <a:pt x="571815" y="2718707"/>
                  <a:pt x="573267" y="2719939"/>
                </a:cubicBezTo>
                <a:lnTo>
                  <a:pt x="554662" y="2742147"/>
                </a:lnTo>
                <a:close/>
                <a:moveTo>
                  <a:pt x="2565693" y="2729297"/>
                </a:moveTo>
                <a:lnTo>
                  <a:pt x="2546794" y="2707327"/>
                </a:lnTo>
                <a:cubicBezTo>
                  <a:pt x="2548246" y="2706077"/>
                  <a:pt x="2549699" y="2704827"/>
                  <a:pt x="2551151" y="2703576"/>
                </a:cubicBezTo>
                <a:lnTo>
                  <a:pt x="2570124" y="2725472"/>
                </a:lnTo>
                <a:cubicBezTo>
                  <a:pt x="2568653" y="2726741"/>
                  <a:pt x="2567183" y="2728028"/>
                  <a:pt x="2565693" y="2729297"/>
                </a:cubicBezTo>
                <a:close/>
                <a:moveTo>
                  <a:pt x="539072" y="2728892"/>
                </a:moveTo>
                <a:cubicBezTo>
                  <a:pt x="537601" y="2727623"/>
                  <a:pt x="536130" y="2726355"/>
                  <a:pt x="534660" y="2725086"/>
                </a:cubicBezTo>
                <a:lnTo>
                  <a:pt x="553633" y="2703190"/>
                </a:lnTo>
                <a:cubicBezTo>
                  <a:pt x="555085" y="2704441"/>
                  <a:pt x="556519" y="2705691"/>
                  <a:pt x="557971" y="2706941"/>
                </a:cubicBezTo>
                <a:lnTo>
                  <a:pt x="539054" y="2728892"/>
                </a:lnTo>
                <a:close/>
                <a:moveTo>
                  <a:pt x="2581136" y="2715821"/>
                </a:moveTo>
                <a:lnTo>
                  <a:pt x="2561962" y="2694109"/>
                </a:lnTo>
                <a:cubicBezTo>
                  <a:pt x="2563395" y="2692840"/>
                  <a:pt x="2564811" y="2691590"/>
                  <a:pt x="2566245" y="2690321"/>
                </a:cubicBezTo>
                <a:lnTo>
                  <a:pt x="2585512" y="2711960"/>
                </a:lnTo>
                <a:cubicBezTo>
                  <a:pt x="2584060" y="2713247"/>
                  <a:pt x="2582607" y="2714534"/>
                  <a:pt x="2581155" y="2715821"/>
                </a:cubicBezTo>
                <a:close/>
                <a:moveTo>
                  <a:pt x="523684" y="2715453"/>
                </a:moveTo>
                <a:cubicBezTo>
                  <a:pt x="522232" y="2714166"/>
                  <a:pt x="520779" y="2712879"/>
                  <a:pt x="519327" y="2711592"/>
                </a:cubicBezTo>
                <a:lnTo>
                  <a:pt x="538594" y="2689954"/>
                </a:lnTo>
                <a:cubicBezTo>
                  <a:pt x="540028" y="2691222"/>
                  <a:pt x="541444" y="2692491"/>
                  <a:pt x="542878" y="2693759"/>
                </a:cubicBezTo>
                <a:lnTo>
                  <a:pt x="523684" y="2715471"/>
                </a:lnTo>
                <a:close/>
                <a:moveTo>
                  <a:pt x="2596341" y="2702216"/>
                </a:moveTo>
                <a:lnTo>
                  <a:pt x="2576871" y="2680743"/>
                </a:lnTo>
                <a:cubicBezTo>
                  <a:pt x="2578287" y="2679456"/>
                  <a:pt x="2579684" y="2678187"/>
                  <a:pt x="2581100" y="2676901"/>
                </a:cubicBezTo>
                <a:lnTo>
                  <a:pt x="2600642" y="2698282"/>
                </a:lnTo>
                <a:cubicBezTo>
                  <a:pt x="2599209" y="2699587"/>
                  <a:pt x="2597775" y="2700911"/>
                  <a:pt x="2596322" y="2702216"/>
                </a:cubicBezTo>
                <a:close/>
                <a:moveTo>
                  <a:pt x="508480" y="2701830"/>
                </a:moveTo>
                <a:cubicBezTo>
                  <a:pt x="507046" y="2700525"/>
                  <a:pt x="505612" y="2699219"/>
                  <a:pt x="504160" y="2697896"/>
                </a:cubicBezTo>
                <a:lnTo>
                  <a:pt x="523702" y="2676514"/>
                </a:lnTo>
                <a:cubicBezTo>
                  <a:pt x="525118" y="2677801"/>
                  <a:pt x="526515" y="2679088"/>
                  <a:pt x="527931" y="2680375"/>
                </a:cubicBezTo>
                <a:lnTo>
                  <a:pt x="508462" y="2701830"/>
                </a:lnTo>
                <a:close/>
                <a:moveTo>
                  <a:pt x="2611379" y="2688409"/>
                </a:moveTo>
                <a:lnTo>
                  <a:pt x="2591634" y="2667212"/>
                </a:lnTo>
                <a:cubicBezTo>
                  <a:pt x="2593031" y="2665906"/>
                  <a:pt x="2594428" y="2664601"/>
                  <a:pt x="2595807" y="2663296"/>
                </a:cubicBezTo>
                <a:lnTo>
                  <a:pt x="2615644" y="2684420"/>
                </a:lnTo>
                <a:cubicBezTo>
                  <a:pt x="2614229" y="2685743"/>
                  <a:pt x="2612813" y="2687067"/>
                  <a:pt x="2611379" y="2688391"/>
                </a:cubicBezTo>
                <a:close/>
                <a:moveTo>
                  <a:pt x="493441" y="2687986"/>
                </a:moveTo>
                <a:cubicBezTo>
                  <a:pt x="492026" y="2686663"/>
                  <a:pt x="490610" y="2685339"/>
                  <a:pt x="489195" y="2684015"/>
                </a:cubicBezTo>
                <a:lnTo>
                  <a:pt x="509032" y="2662891"/>
                </a:lnTo>
                <a:cubicBezTo>
                  <a:pt x="510429" y="2664197"/>
                  <a:pt x="511826" y="2665502"/>
                  <a:pt x="513223" y="2666807"/>
                </a:cubicBezTo>
                <a:lnTo>
                  <a:pt x="493460" y="2687986"/>
                </a:lnTo>
                <a:close/>
                <a:moveTo>
                  <a:pt x="2626215" y="2674400"/>
                </a:moveTo>
                <a:lnTo>
                  <a:pt x="2606176" y="2653478"/>
                </a:lnTo>
                <a:cubicBezTo>
                  <a:pt x="2607555" y="2652155"/>
                  <a:pt x="2608934" y="2650831"/>
                  <a:pt x="2610313" y="2649508"/>
                </a:cubicBezTo>
                <a:lnTo>
                  <a:pt x="2630407" y="2670374"/>
                </a:lnTo>
                <a:cubicBezTo>
                  <a:pt x="2629010" y="2671716"/>
                  <a:pt x="2627613" y="2673058"/>
                  <a:pt x="2626215" y="2674400"/>
                </a:cubicBezTo>
                <a:close/>
                <a:moveTo>
                  <a:pt x="478605" y="2673959"/>
                </a:moveTo>
                <a:cubicBezTo>
                  <a:pt x="477208" y="2672617"/>
                  <a:pt x="475811" y="2671275"/>
                  <a:pt x="474413" y="2669914"/>
                </a:cubicBezTo>
                <a:lnTo>
                  <a:pt x="494526" y="2649066"/>
                </a:lnTo>
                <a:cubicBezTo>
                  <a:pt x="495905" y="2650390"/>
                  <a:pt x="497284" y="2651714"/>
                  <a:pt x="498663" y="2653037"/>
                </a:cubicBezTo>
                <a:lnTo>
                  <a:pt x="478624" y="2673959"/>
                </a:lnTo>
                <a:close/>
                <a:moveTo>
                  <a:pt x="2640868" y="2660189"/>
                </a:moveTo>
                <a:lnTo>
                  <a:pt x="2620571" y="2639506"/>
                </a:lnTo>
                <a:cubicBezTo>
                  <a:pt x="2621932" y="2638164"/>
                  <a:pt x="2623292" y="2636841"/>
                  <a:pt x="2624634" y="2635499"/>
                </a:cubicBezTo>
                <a:lnTo>
                  <a:pt x="2645023" y="2656089"/>
                </a:lnTo>
                <a:cubicBezTo>
                  <a:pt x="2643644" y="2657450"/>
                  <a:pt x="2642265" y="2658828"/>
                  <a:pt x="2640868" y="2660189"/>
                </a:cubicBezTo>
                <a:close/>
                <a:moveTo>
                  <a:pt x="463953" y="2659748"/>
                </a:moveTo>
                <a:cubicBezTo>
                  <a:pt x="462555" y="2658387"/>
                  <a:pt x="461177" y="2657008"/>
                  <a:pt x="459798" y="2655648"/>
                </a:cubicBezTo>
                <a:lnTo>
                  <a:pt x="480205" y="2635076"/>
                </a:lnTo>
                <a:cubicBezTo>
                  <a:pt x="481565" y="2636418"/>
                  <a:pt x="482907" y="2637760"/>
                  <a:pt x="484268" y="2639083"/>
                </a:cubicBezTo>
                <a:lnTo>
                  <a:pt x="463953" y="2659748"/>
                </a:lnTo>
                <a:close/>
                <a:moveTo>
                  <a:pt x="2655337" y="2645794"/>
                </a:moveTo>
                <a:lnTo>
                  <a:pt x="2634764" y="2625387"/>
                </a:lnTo>
                <a:cubicBezTo>
                  <a:pt x="2636106" y="2624027"/>
                  <a:pt x="2637448" y="2622666"/>
                  <a:pt x="2638790" y="2621324"/>
                </a:cubicBezTo>
                <a:lnTo>
                  <a:pt x="2659436" y="2641657"/>
                </a:lnTo>
                <a:cubicBezTo>
                  <a:pt x="2658076" y="2643036"/>
                  <a:pt x="2656697" y="2644433"/>
                  <a:pt x="2655337" y="2645794"/>
                </a:cubicBezTo>
                <a:close/>
                <a:moveTo>
                  <a:pt x="449484" y="2645334"/>
                </a:moveTo>
                <a:cubicBezTo>
                  <a:pt x="448124" y="2643955"/>
                  <a:pt x="446745" y="2642577"/>
                  <a:pt x="445384" y="2641179"/>
                </a:cubicBezTo>
                <a:lnTo>
                  <a:pt x="466049" y="2620864"/>
                </a:lnTo>
                <a:cubicBezTo>
                  <a:pt x="467391" y="2622225"/>
                  <a:pt x="468733" y="2623585"/>
                  <a:pt x="470056" y="2624946"/>
                </a:cubicBezTo>
                <a:lnTo>
                  <a:pt x="449466" y="2645334"/>
                </a:lnTo>
                <a:close/>
                <a:moveTo>
                  <a:pt x="2669640" y="2631178"/>
                </a:moveTo>
                <a:lnTo>
                  <a:pt x="2648792" y="2611065"/>
                </a:lnTo>
                <a:cubicBezTo>
                  <a:pt x="2650115" y="2609687"/>
                  <a:pt x="2651439" y="2608308"/>
                  <a:pt x="2652763" y="2606929"/>
                </a:cubicBezTo>
                <a:lnTo>
                  <a:pt x="2673684" y="2626968"/>
                </a:lnTo>
                <a:cubicBezTo>
                  <a:pt x="2672342" y="2628365"/>
                  <a:pt x="2671000" y="2629763"/>
                  <a:pt x="2669640" y="2631160"/>
                </a:cubicBezTo>
                <a:close/>
                <a:moveTo>
                  <a:pt x="435218" y="2630737"/>
                </a:moveTo>
                <a:cubicBezTo>
                  <a:pt x="433857" y="2629340"/>
                  <a:pt x="432515" y="2627924"/>
                  <a:pt x="431173" y="2626527"/>
                </a:cubicBezTo>
                <a:lnTo>
                  <a:pt x="452113" y="2606506"/>
                </a:lnTo>
                <a:cubicBezTo>
                  <a:pt x="453437" y="2607885"/>
                  <a:pt x="454742" y="2609264"/>
                  <a:pt x="456066" y="2610624"/>
                </a:cubicBezTo>
                <a:lnTo>
                  <a:pt x="435218" y="2630737"/>
                </a:lnTo>
                <a:close/>
                <a:moveTo>
                  <a:pt x="2683722" y="2616415"/>
                </a:moveTo>
                <a:lnTo>
                  <a:pt x="2662617" y="2596560"/>
                </a:lnTo>
                <a:cubicBezTo>
                  <a:pt x="2663922" y="2595163"/>
                  <a:pt x="2665227" y="2593784"/>
                  <a:pt x="2666533" y="2592387"/>
                </a:cubicBezTo>
                <a:lnTo>
                  <a:pt x="2687712" y="2612150"/>
                </a:lnTo>
                <a:cubicBezTo>
                  <a:pt x="2686388" y="2613566"/>
                  <a:pt x="2685064" y="2614981"/>
                  <a:pt x="2683722" y="2616397"/>
                </a:cubicBezTo>
                <a:close/>
                <a:moveTo>
                  <a:pt x="421135" y="2615937"/>
                </a:moveTo>
                <a:cubicBezTo>
                  <a:pt x="419811" y="2614522"/>
                  <a:pt x="418488" y="2613106"/>
                  <a:pt x="417164" y="2611690"/>
                </a:cubicBezTo>
                <a:lnTo>
                  <a:pt x="438361" y="2591927"/>
                </a:lnTo>
                <a:cubicBezTo>
                  <a:pt x="439667" y="2593324"/>
                  <a:pt x="440972" y="2594722"/>
                  <a:pt x="442277" y="2596119"/>
                </a:cubicBezTo>
                <a:lnTo>
                  <a:pt x="421153" y="2615956"/>
                </a:lnTo>
                <a:close/>
                <a:moveTo>
                  <a:pt x="2697603" y="2601432"/>
                </a:moveTo>
                <a:lnTo>
                  <a:pt x="2676221" y="2581871"/>
                </a:lnTo>
                <a:cubicBezTo>
                  <a:pt x="2677508" y="2580455"/>
                  <a:pt x="2678795" y="2579058"/>
                  <a:pt x="2680082" y="2577642"/>
                </a:cubicBezTo>
                <a:lnTo>
                  <a:pt x="2701519" y="2597130"/>
                </a:lnTo>
                <a:cubicBezTo>
                  <a:pt x="2700213" y="2598564"/>
                  <a:pt x="2698908" y="2599998"/>
                  <a:pt x="2697584" y="2601432"/>
                </a:cubicBezTo>
                <a:close/>
                <a:moveTo>
                  <a:pt x="407273" y="2600972"/>
                </a:moveTo>
                <a:cubicBezTo>
                  <a:pt x="405968" y="2599538"/>
                  <a:pt x="404662" y="2598104"/>
                  <a:pt x="403357" y="2596670"/>
                </a:cubicBezTo>
                <a:lnTo>
                  <a:pt x="424812" y="2577183"/>
                </a:lnTo>
                <a:cubicBezTo>
                  <a:pt x="426099" y="2578598"/>
                  <a:pt x="427386" y="2580014"/>
                  <a:pt x="428673" y="2581411"/>
                </a:cubicBezTo>
                <a:lnTo>
                  <a:pt x="407291" y="2600954"/>
                </a:lnTo>
                <a:close/>
                <a:moveTo>
                  <a:pt x="2711299" y="2586265"/>
                </a:moveTo>
                <a:lnTo>
                  <a:pt x="2689661" y="2566998"/>
                </a:lnTo>
                <a:cubicBezTo>
                  <a:pt x="2690929" y="2565582"/>
                  <a:pt x="2692198" y="2564148"/>
                  <a:pt x="2693466" y="2562714"/>
                </a:cubicBezTo>
                <a:lnTo>
                  <a:pt x="2715178" y="2581908"/>
                </a:lnTo>
                <a:cubicBezTo>
                  <a:pt x="2713891" y="2583360"/>
                  <a:pt x="2712604" y="2584812"/>
                  <a:pt x="2711299" y="2586265"/>
                </a:cubicBezTo>
                <a:close/>
                <a:moveTo>
                  <a:pt x="393595" y="2585823"/>
                </a:moveTo>
                <a:cubicBezTo>
                  <a:pt x="392308" y="2584371"/>
                  <a:pt x="391021" y="2582919"/>
                  <a:pt x="389734" y="2581466"/>
                </a:cubicBezTo>
                <a:lnTo>
                  <a:pt x="411446" y="2562273"/>
                </a:lnTo>
                <a:cubicBezTo>
                  <a:pt x="412715" y="2563707"/>
                  <a:pt x="413983" y="2565122"/>
                  <a:pt x="415252" y="2566557"/>
                </a:cubicBezTo>
                <a:lnTo>
                  <a:pt x="393613" y="2585823"/>
                </a:lnTo>
                <a:close/>
                <a:moveTo>
                  <a:pt x="2724793" y="2570932"/>
                </a:moveTo>
                <a:lnTo>
                  <a:pt x="2702916" y="2551941"/>
                </a:lnTo>
                <a:cubicBezTo>
                  <a:pt x="2704166" y="2550507"/>
                  <a:pt x="2705416" y="2549054"/>
                  <a:pt x="2706666" y="2547602"/>
                </a:cubicBezTo>
                <a:lnTo>
                  <a:pt x="2728617" y="2566520"/>
                </a:lnTo>
                <a:cubicBezTo>
                  <a:pt x="2727349" y="2567990"/>
                  <a:pt x="2726080" y="2569461"/>
                  <a:pt x="2724793" y="2570932"/>
                </a:cubicBezTo>
                <a:close/>
                <a:moveTo>
                  <a:pt x="380137" y="2570491"/>
                </a:moveTo>
                <a:cubicBezTo>
                  <a:pt x="378851" y="2569020"/>
                  <a:pt x="377582" y="2567531"/>
                  <a:pt x="376314" y="2566060"/>
                </a:cubicBezTo>
                <a:lnTo>
                  <a:pt x="398283" y="2547179"/>
                </a:lnTo>
                <a:cubicBezTo>
                  <a:pt x="399533" y="2548632"/>
                  <a:pt x="400783" y="2550084"/>
                  <a:pt x="402033" y="2551518"/>
                </a:cubicBezTo>
                <a:lnTo>
                  <a:pt x="380137" y="2570509"/>
                </a:lnTo>
                <a:close/>
                <a:moveTo>
                  <a:pt x="2738085" y="2555415"/>
                </a:moveTo>
                <a:lnTo>
                  <a:pt x="2715951" y="2536718"/>
                </a:lnTo>
                <a:cubicBezTo>
                  <a:pt x="2717182" y="2535266"/>
                  <a:pt x="2718414" y="2533795"/>
                  <a:pt x="2719627" y="2532343"/>
                </a:cubicBezTo>
                <a:lnTo>
                  <a:pt x="2741836" y="2550948"/>
                </a:lnTo>
                <a:cubicBezTo>
                  <a:pt x="2740586" y="2552437"/>
                  <a:pt x="2739336" y="2553926"/>
                  <a:pt x="2738067" y="2555415"/>
                </a:cubicBezTo>
                <a:close/>
                <a:moveTo>
                  <a:pt x="366809" y="2554919"/>
                </a:moveTo>
                <a:cubicBezTo>
                  <a:pt x="365540" y="2553430"/>
                  <a:pt x="364290" y="2551941"/>
                  <a:pt x="363040" y="2550433"/>
                </a:cubicBezTo>
                <a:lnTo>
                  <a:pt x="385248" y="2531828"/>
                </a:lnTo>
                <a:cubicBezTo>
                  <a:pt x="386480" y="2533299"/>
                  <a:pt x="387712" y="2534770"/>
                  <a:pt x="388944" y="2536222"/>
                </a:cubicBezTo>
                <a:lnTo>
                  <a:pt x="366809" y="2554901"/>
                </a:lnTo>
                <a:close/>
                <a:moveTo>
                  <a:pt x="2751175" y="2539715"/>
                </a:moveTo>
                <a:lnTo>
                  <a:pt x="2728783" y="2521330"/>
                </a:lnTo>
                <a:cubicBezTo>
                  <a:pt x="2729996" y="2519841"/>
                  <a:pt x="2731210" y="2518370"/>
                  <a:pt x="2732423" y="2516881"/>
                </a:cubicBezTo>
                <a:lnTo>
                  <a:pt x="2754852" y="2535211"/>
                </a:lnTo>
                <a:cubicBezTo>
                  <a:pt x="2753620" y="2536718"/>
                  <a:pt x="2752389" y="2538207"/>
                  <a:pt x="2751157" y="2539715"/>
                </a:cubicBezTo>
                <a:close/>
                <a:moveTo>
                  <a:pt x="353700" y="2539163"/>
                </a:moveTo>
                <a:cubicBezTo>
                  <a:pt x="352469" y="2537656"/>
                  <a:pt x="351237" y="2536148"/>
                  <a:pt x="350005" y="2534641"/>
                </a:cubicBezTo>
                <a:lnTo>
                  <a:pt x="372453" y="2516330"/>
                </a:lnTo>
                <a:cubicBezTo>
                  <a:pt x="373666" y="2517819"/>
                  <a:pt x="374880" y="2519308"/>
                  <a:pt x="376093" y="2520779"/>
                </a:cubicBezTo>
                <a:lnTo>
                  <a:pt x="353700" y="2539163"/>
                </a:lnTo>
                <a:close/>
                <a:moveTo>
                  <a:pt x="2764063" y="2523849"/>
                </a:moveTo>
                <a:lnTo>
                  <a:pt x="2741432" y="2505759"/>
                </a:lnTo>
                <a:cubicBezTo>
                  <a:pt x="2742626" y="2504270"/>
                  <a:pt x="2743821" y="2502762"/>
                  <a:pt x="2745016" y="2501273"/>
                </a:cubicBezTo>
                <a:lnTo>
                  <a:pt x="2767703" y="2519308"/>
                </a:lnTo>
                <a:cubicBezTo>
                  <a:pt x="2766490" y="2520834"/>
                  <a:pt x="2765276" y="2522342"/>
                  <a:pt x="2764081" y="2523867"/>
                </a:cubicBezTo>
                <a:close/>
                <a:moveTo>
                  <a:pt x="340795" y="2523242"/>
                </a:moveTo>
                <a:cubicBezTo>
                  <a:pt x="339581" y="2521717"/>
                  <a:pt x="338368" y="2520191"/>
                  <a:pt x="337154" y="2518665"/>
                </a:cubicBezTo>
                <a:lnTo>
                  <a:pt x="359859" y="2500666"/>
                </a:lnTo>
                <a:cubicBezTo>
                  <a:pt x="361054" y="2502174"/>
                  <a:pt x="362249" y="2503663"/>
                  <a:pt x="363444" y="2505152"/>
                </a:cubicBezTo>
                <a:lnTo>
                  <a:pt x="340813" y="2523242"/>
                </a:lnTo>
                <a:close/>
                <a:moveTo>
                  <a:pt x="2776730" y="2507799"/>
                </a:moveTo>
                <a:lnTo>
                  <a:pt x="2753860" y="2490003"/>
                </a:lnTo>
                <a:cubicBezTo>
                  <a:pt x="2755036" y="2488496"/>
                  <a:pt x="2756213" y="2486970"/>
                  <a:pt x="2757389" y="2485462"/>
                </a:cubicBezTo>
                <a:lnTo>
                  <a:pt x="2780315" y="2503185"/>
                </a:lnTo>
                <a:cubicBezTo>
                  <a:pt x="2779120" y="2504729"/>
                  <a:pt x="2777943" y="2506255"/>
                  <a:pt x="2776748" y="2507781"/>
                </a:cubicBezTo>
                <a:close/>
                <a:moveTo>
                  <a:pt x="328109" y="2507156"/>
                </a:moveTo>
                <a:cubicBezTo>
                  <a:pt x="326914" y="2505612"/>
                  <a:pt x="325719" y="2504067"/>
                  <a:pt x="324524" y="2502523"/>
                </a:cubicBezTo>
                <a:lnTo>
                  <a:pt x="347468" y="2484837"/>
                </a:lnTo>
                <a:cubicBezTo>
                  <a:pt x="348626" y="2486345"/>
                  <a:pt x="349803" y="2487871"/>
                  <a:pt x="350980" y="2489378"/>
                </a:cubicBezTo>
                <a:lnTo>
                  <a:pt x="328109" y="2507174"/>
                </a:lnTo>
                <a:close/>
                <a:moveTo>
                  <a:pt x="2789195" y="2491603"/>
                </a:moveTo>
                <a:lnTo>
                  <a:pt x="2766085" y="2474119"/>
                </a:lnTo>
                <a:cubicBezTo>
                  <a:pt x="2767243" y="2472593"/>
                  <a:pt x="2768402" y="2471067"/>
                  <a:pt x="2769541" y="2469541"/>
                </a:cubicBezTo>
                <a:lnTo>
                  <a:pt x="2792706" y="2486951"/>
                </a:lnTo>
                <a:cubicBezTo>
                  <a:pt x="2791529" y="2488496"/>
                  <a:pt x="2790371" y="2490058"/>
                  <a:pt x="2789195" y="2491603"/>
                </a:cubicBezTo>
                <a:close/>
                <a:moveTo>
                  <a:pt x="315644" y="2490904"/>
                </a:moveTo>
                <a:cubicBezTo>
                  <a:pt x="314468" y="2489341"/>
                  <a:pt x="313291" y="2487779"/>
                  <a:pt x="312115" y="2486216"/>
                </a:cubicBezTo>
                <a:lnTo>
                  <a:pt x="335298" y="2468824"/>
                </a:lnTo>
                <a:cubicBezTo>
                  <a:pt x="336456" y="2470350"/>
                  <a:pt x="337596" y="2471876"/>
                  <a:pt x="338754" y="2473402"/>
                </a:cubicBezTo>
                <a:lnTo>
                  <a:pt x="315663" y="2490886"/>
                </a:lnTo>
                <a:close/>
                <a:moveTo>
                  <a:pt x="2801420" y="2475240"/>
                </a:moveTo>
                <a:lnTo>
                  <a:pt x="2778109" y="2458032"/>
                </a:lnTo>
                <a:cubicBezTo>
                  <a:pt x="2779248" y="2456488"/>
                  <a:pt x="2780370" y="2454962"/>
                  <a:pt x="2781491" y="2453418"/>
                </a:cubicBezTo>
                <a:lnTo>
                  <a:pt x="2804877" y="2470534"/>
                </a:lnTo>
                <a:cubicBezTo>
                  <a:pt x="2803718" y="2472115"/>
                  <a:pt x="2802579" y="2473678"/>
                  <a:pt x="2801420" y="2475240"/>
                </a:cubicBezTo>
                <a:close/>
                <a:moveTo>
                  <a:pt x="303382" y="2474487"/>
                </a:moveTo>
                <a:cubicBezTo>
                  <a:pt x="302224" y="2472906"/>
                  <a:pt x="301065" y="2471343"/>
                  <a:pt x="299907" y="2469762"/>
                </a:cubicBezTo>
                <a:lnTo>
                  <a:pt x="323311" y="2452683"/>
                </a:lnTo>
                <a:cubicBezTo>
                  <a:pt x="324432" y="2454227"/>
                  <a:pt x="325572" y="2455771"/>
                  <a:pt x="326694" y="2457315"/>
                </a:cubicBezTo>
                <a:lnTo>
                  <a:pt x="303364" y="2474505"/>
                </a:lnTo>
                <a:close/>
                <a:moveTo>
                  <a:pt x="2813462" y="2458694"/>
                </a:moveTo>
                <a:lnTo>
                  <a:pt x="2789930" y="2441799"/>
                </a:lnTo>
                <a:cubicBezTo>
                  <a:pt x="2791051" y="2440255"/>
                  <a:pt x="2792154" y="2438692"/>
                  <a:pt x="2793257" y="2437148"/>
                </a:cubicBezTo>
                <a:lnTo>
                  <a:pt x="2816863" y="2453933"/>
                </a:lnTo>
                <a:cubicBezTo>
                  <a:pt x="2815742" y="2455514"/>
                  <a:pt x="2814602" y="2457113"/>
                  <a:pt x="2813462" y="2458694"/>
                </a:cubicBezTo>
                <a:close/>
                <a:moveTo>
                  <a:pt x="291340" y="2457885"/>
                </a:moveTo>
                <a:cubicBezTo>
                  <a:pt x="290200" y="2456304"/>
                  <a:pt x="289079" y="2454705"/>
                  <a:pt x="287939" y="2453124"/>
                </a:cubicBezTo>
                <a:lnTo>
                  <a:pt x="311563" y="2436339"/>
                </a:lnTo>
                <a:cubicBezTo>
                  <a:pt x="312666" y="2437901"/>
                  <a:pt x="313788" y="2439464"/>
                  <a:pt x="314909" y="2441027"/>
                </a:cubicBezTo>
                <a:lnTo>
                  <a:pt x="291340" y="2457885"/>
                </a:lnTo>
                <a:close/>
                <a:moveTo>
                  <a:pt x="2825265" y="2442001"/>
                </a:moveTo>
                <a:lnTo>
                  <a:pt x="2801494" y="2425437"/>
                </a:lnTo>
                <a:cubicBezTo>
                  <a:pt x="2802597" y="2423874"/>
                  <a:pt x="2803682" y="2422293"/>
                  <a:pt x="2804766" y="2420730"/>
                </a:cubicBezTo>
                <a:lnTo>
                  <a:pt x="2828593" y="2437221"/>
                </a:lnTo>
                <a:cubicBezTo>
                  <a:pt x="2827490" y="2438821"/>
                  <a:pt x="2826368" y="2440420"/>
                  <a:pt x="2825265" y="2442020"/>
                </a:cubicBezTo>
                <a:close/>
                <a:moveTo>
                  <a:pt x="279519" y="2441155"/>
                </a:moveTo>
                <a:cubicBezTo>
                  <a:pt x="278397" y="2439556"/>
                  <a:pt x="277294" y="2437956"/>
                  <a:pt x="276173" y="2436339"/>
                </a:cubicBezTo>
                <a:lnTo>
                  <a:pt x="300018" y="2419885"/>
                </a:lnTo>
                <a:cubicBezTo>
                  <a:pt x="301102" y="2421466"/>
                  <a:pt x="302205" y="2423028"/>
                  <a:pt x="303290" y="2424609"/>
                </a:cubicBezTo>
                <a:lnTo>
                  <a:pt x="279519" y="2441155"/>
                </a:lnTo>
                <a:close/>
                <a:moveTo>
                  <a:pt x="2836847" y="2425142"/>
                </a:moveTo>
                <a:lnTo>
                  <a:pt x="2812874" y="2408872"/>
                </a:lnTo>
                <a:cubicBezTo>
                  <a:pt x="2813940" y="2407291"/>
                  <a:pt x="2815006" y="2405710"/>
                  <a:pt x="2816073" y="2404129"/>
                </a:cubicBezTo>
                <a:lnTo>
                  <a:pt x="2840120" y="2420289"/>
                </a:lnTo>
                <a:cubicBezTo>
                  <a:pt x="2839035" y="2421907"/>
                  <a:pt x="2837932" y="2423525"/>
                  <a:pt x="2836847" y="2425142"/>
                </a:cubicBezTo>
                <a:close/>
                <a:moveTo>
                  <a:pt x="267918" y="2424260"/>
                </a:moveTo>
                <a:cubicBezTo>
                  <a:pt x="266833" y="2422642"/>
                  <a:pt x="265730" y="2421024"/>
                  <a:pt x="264646" y="2419407"/>
                </a:cubicBezTo>
                <a:lnTo>
                  <a:pt x="288693" y="2403265"/>
                </a:lnTo>
                <a:cubicBezTo>
                  <a:pt x="289759" y="2404864"/>
                  <a:pt x="290825" y="2406445"/>
                  <a:pt x="291910" y="2408027"/>
                </a:cubicBezTo>
                <a:lnTo>
                  <a:pt x="267900" y="2424260"/>
                </a:lnTo>
                <a:close/>
                <a:moveTo>
                  <a:pt x="2848227" y="2408155"/>
                </a:moveTo>
                <a:lnTo>
                  <a:pt x="2824033" y="2392197"/>
                </a:lnTo>
                <a:cubicBezTo>
                  <a:pt x="2825081" y="2390598"/>
                  <a:pt x="2826129" y="2389017"/>
                  <a:pt x="2827177" y="2387417"/>
                </a:cubicBezTo>
                <a:lnTo>
                  <a:pt x="2851426" y="2403265"/>
                </a:lnTo>
                <a:cubicBezTo>
                  <a:pt x="2850360" y="2404901"/>
                  <a:pt x="2849294" y="2406519"/>
                  <a:pt x="2848209" y="2408155"/>
                </a:cubicBezTo>
                <a:close/>
                <a:moveTo>
                  <a:pt x="256556" y="2407218"/>
                </a:moveTo>
                <a:cubicBezTo>
                  <a:pt x="255490" y="2405581"/>
                  <a:pt x="254424" y="2403963"/>
                  <a:pt x="253358" y="2402327"/>
                </a:cubicBezTo>
                <a:lnTo>
                  <a:pt x="277625" y="2386498"/>
                </a:lnTo>
                <a:cubicBezTo>
                  <a:pt x="278673" y="2388098"/>
                  <a:pt x="279721" y="2389697"/>
                  <a:pt x="280769" y="2391296"/>
                </a:cubicBezTo>
                <a:lnTo>
                  <a:pt x="256556" y="2407218"/>
                </a:lnTo>
                <a:close/>
                <a:moveTo>
                  <a:pt x="2859368" y="2390984"/>
                </a:moveTo>
                <a:lnTo>
                  <a:pt x="2834972" y="2375357"/>
                </a:lnTo>
                <a:cubicBezTo>
                  <a:pt x="2836002" y="2373739"/>
                  <a:pt x="2837031" y="2372140"/>
                  <a:pt x="2838061" y="2370522"/>
                </a:cubicBezTo>
                <a:lnTo>
                  <a:pt x="2862512" y="2386057"/>
                </a:lnTo>
                <a:cubicBezTo>
                  <a:pt x="2861464" y="2387693"/>
                  <a:pt x="2860416" y="2389348"/>
                  <a:pt x="2859368" y="2390984"/>
                </a:cubicBezTo>
                <a:close/>
                <a:moveTo>
                  <a:pt x="245415" y="2390028"/>
                </a:moveTo>
                <a:cubicBezTo>
                  <a:pt x="244368" y="2388392"/>
                  <a:pt x="243320" y="2386737"/>
                  <a:pt x="242272" y="2385101"/>
                </a:cubicBezTo>
                <a:lnTo>
                  <a:pt x="266742" y="2369584"/>
                </a:lnTo>
                <a:cubicBezTo>
                  <a:pt x="267771" y="2371202"/>
                  <a:pt x="268801" y="2372820"/>
                  <a:pt x="269830" y="2374438"/>
                </a:cubicBezTo>
                <a:lnTo>
                  <a:pt x="245415" y="2390046"/>
                </a:lnTo>
                <a:close/>
                <a:moveTo>
                  <a:pt x="2870270" y="2373684"/>
                </a:moveTo>
                <a:lnTo>
                  <a:pt x="2845672" y="2358370"/>
                </a:lnTo>
                <a:cubicBezTo>
                  <a:pt x="2846683" y="2356752"/>
                  <a:pt x="2847694" y="2355116"/>
                  <a:pt x="2848687" y="2353498"/>
                </a:cubicBezTo>
                <a:lnTo>
                  <a:pt x="2873341" y="2368702"/>
                </a:lnTo>
                <a:cubicBezTo>
                  <a:pt x="2872311" y="2370356"/>
                  <a:pt x="2871282" y="2372030"/>
                  <a:pt x="2870252" y="2373684"/>
                </a:cubicBezTo>
                <a:close/>
                <a:moveTo>
                  <a:pt x="234495" y="2372673"/>
                </a:moveTo>
                <a:cubicBezTo>
                  <a:pt x="233465" y="2371018"/>
                  <a:pt x="232436" y="2369345"/>
                  <a:pt x="231425" y="2367691"/>
                </a:cubicBezTo>
                <a:lnTo>
                  <a:pt x="256097" y="2352505"/>
                </a:lnTo>
                <a:cubicBezTo>
                  <a:pt x="257108" y="2354141"/>
                  <a:pt x="258101" y="2355759"/>
                  <a:pt x="259112" y="2357395"/>
                </a:cubicBezTo>
                <a:lnTo>
                  <a:pt x="234495" y="2372673"/>
                </a:lnTo>
                <a:close/>
                <a:moveTo>
                  <a:pt x="2880970" y="2356237"/>
                </a:moveTo>
                <a:lnTo>
                  <a:pt x="2856169" y="2341272"/>
                </a:lnTo>
                <a:cubicBezTo>
                  <a:pt x="2857162" y="2339636"/>
                  <a:pt x="2858137" y="2338000"/>
                  <a:pt x="2859129" y="2336363"/>
                </a:cubicBezTo>
                <a:lnTo>
                  <a:pt x="2883985" y="2351237"/>
                </a:lnTo>
                <a:cubicBezTo>
                  <a:pt x="2882993" y="2352910"/>
                  <a:pt x="2881981" y="2354583"/>
                  <a:pt x="2880970" y="2356237"/>
                </a:cubicBezTo>
                <a:close/>
                <a:moveTo>
                  <a:pt x="223795" y="2355189"/>
                </a:moveTo>
                <a:cubicBezTo>
                  <a:pt x="222784" y="2353516"/>
                  <a:pt x="221791" y="2351843"/>
                  <a:pt x="220780" y="2350170"/>
                </a:cubicBezTo>
                <a:lnTo>
                  <a:pt x="245654" y="2335316"/>
                </a:lnTo>
                <a:cubicBezTo>
                  <a:pt x="246629" y="2336952"/>
                  <a:pt x="247622" y="2338607"/>
                  <a:pt x="248614" y="2340243"/>
                </a:cubicBezTo>
                <a:lnTo>
                  <a:pt x="223795" y="2355189"/>
                </a:lnTo>
                <a:close/>
                <a:moveTo>
                  <a:pt x="2891431" y="2338662"/>
                </a:moveTo>
                <a:lnTo>
                  <a:pt x="2866428" y="2324009"/>
                </a:lnTo>
                <a:cubicBezTo>
                  <a:pt x="2867402" y="2322354"/>
                  <a:pt x="2868358" y="2320718"/>
                  <a:pt x="2869314" y="2319064"/>
                </a:cubicBezTo>
                <a:lnTo>
                  <a:pt x="2894373" y="2333606"/>
                </a:lnTo>
                <a:cubicBezTo>
                  <a:pt x="2893398" y="2335297"/>
                  <a:pt x="2892405" y="2336970"/>
                  <a:pt x="2891431" y="2338662"/>
                </a:cubicBezTo>
                <a:close/>
                <a:moveTo>
                  <a:pt x="213353" y="2337577"/>
                </a:moveTo>
                <a:cubicBezTo>
                  <a:pt x="212360" y="2335885"/>
                  <a:pt x="211386" y="2334213"/>
                  <a:pt x="210411" y="2332521"/>
                </a:cubicBezTo>
                <a:lnTo>
                  <a:pt x="235469" y="2317979"/>
                </a:lnTo>
                <a:cubicBezTo>
                  <a:pt x="236425" y="2319634"/>
                  <a:pt x="237400" y="2321288"/>
                  <a:pt x="238356" y="2322943"/>
                </a:cubicBezTo>
                <a:lnTo>
                  <a:pt x="213353" y="2337577"/>
                </a:lnTo>
                <a:close/>
                <a:moveTo>
                  <a:pt x="2901653" y="2320939"/>
                </a:moveTo>
                <a:lnTo>
                  <a:pt x="2876466" y="2306617"/>
                </a:lnTo>
                <a:cubicBezTo>
                  <a:pt x="2877404" y="2304963"/>
                  <a:pt x="2878360" y="2303290"/>
                  <a:pt x="2879297" y="2301617"/>
                </a:cubicBezTo>
                <a:lnTo>
                  <a:pt x="2904539" y="2315846"/>
                </a:lnTo>
                <a:cubicBezTo>
                  <a:pt x="2903583" y="2317538"/>
                  <a:pt x="2902627" y="2319248"/>
                  <a:pt x="2901653" y="2320939"/>
                </a:cubicBezTo>
                <a:close/>
                <a:moveTo>
                  <a:pt x="203113" y="2319817"/>
                </a:moveTo>
                <a:cubicBezTo>
                  <a:pt x="202157" y="2318126"/>
                  <a:pt x="201201" y="2316416"/>
                  <a:pt x="200245" y="2314725"/>
                </a:cubicBezTo>
                <a:lnTo>
                  <a:pt x="225487" y="2300514"/>
                </a:lnTo>
                <a:cubicBezTo>
                  <a:pt x="226424" y="2302187"/>
                  <a:pt x="227380" y="2303860"/>
                  <a:pt x="228318" y="2305514"/>
                </a:cubicBezTo>
                <a:lnTo>
                  <a:pt x="203113" y="2319817"/>
                </a:lnTo>
                <a:close/>
                <a:moveTo>
                  <a:pt x="2911654" y="2303069"/>
                </a:moveTo>
                <a:lnTo>
                  <a:pt x="2886283" y="2289078"/>
                </a:lnTo>
                <a:cubicBezTo>
                  <a:pt x="2887203" y="2287405"/>
                  <a:pt x="2888122" y="2285733"/>
                  <a:pt x="2889041" y="2284059"/>
                </a:cubicBezTo>
                <a:lnTo>
                  <a:pt x="2914467" y="2297940"/>
                </a:lnTo>
                <a:cubicBezTo>
                  <a:pt x="2913529" y="2299650"/>
                  <a:pt x="2912592" y="2301359"/>
                  <a:pt x="2911654" y="2303069"/>
                </a:cubicBezTo>
                <a:close/>
                <a:moveTo>
                  <a:pt x="193130" y="2301948"/>
                </a:moveTo>
                <a:cubicBezTo>
                  <a:pt x="192192" y="2300238"/>
                  <a:pt x="191255" y="2298547"/>
                  <a:pt x="190335" y="2296837"/>
                </a:cubicBezTo>
                <a:lnTo>
                  <a:pt x="215761" y="2282956"/>
                </a:lnTo>
                <a:cubicBezTo>
                  <a:pt x="216680" y="2284629"/>
                  <a:pt x="217600" y="2286302"/>
                  <a:pt x="218519" y="2287975"/>
                </a:cubicBezTo>
                <a:lnTo>
                  <a:pt x="193130" y="2301948"/>
                </a:lnTo>
                <a:close/>
                <a:moveTo>
                  <a:pt x="2921416" y="2285089"/>
                </a:moveTo>
                <a:lnTo>
                  <a:pt x="2895862" y="2271448"/>
                </a:lnTo>
                <a:cubicBezTo>
                  <a:pt x="2896763" y="2269756"/>
                  <a:pt x="2897663" y="2268065"/>
                  <a:pt x="2898564" y="2266374"/>
                </a:cubicBezTo>
                <a:lnTo>
                  <a:pt x="2924174" y="2279923"/>
                </a:lnTo>
                <a:cubicBezTo>
                  <a:pt x="2923273" y="2281651"/>
                  <a:pt x="2922354" y="2283361"/>
                  <a:pt x="2921435" y="2285089"/>
                </a:cubicBezTo>
                <a:close/>
                <a:moveTo>
                  <a:pt x="183404" y="2283986"/>
                </a:moveTo>
                <a:cubicBezTo>
                  <a:pt x="182485" y="2282276"/>
                  <a:pt x="181566" y="2280548"/>
                  <a:pt x="180665" y="2278820"/>
                </a:cubicBezTo>
                <a:lnTo>
                  <a:pt x="206275" y="2265271"/>
                </a:lnTo>
                <a:cubicBezTo>
                  <a:pt x="207157" y="2266962"/>
                  <a:pt x="208058" y="2268653"/>
                  <a:pt x="208959" y="2270326"/>
                </a:cubicBezTo>
                <a:lnTo>
                  <a:pt x="183404" y="2283967"/>
                </a:lnTo>
                <a:close/>
                <a:moveTo>
                  <a:pt x="2930939" y="2266962"/>
                </a:moveTo>
                <a:lnTo>
                  <a:pt x="2905201" y="2253651"/>
                </a:lnTo>
                <a:cubicBezTo>
                  <a:pt x="2906083" y="2251960"/>
                  <a:pt x="2906948" y="2250250"/>
                  <a:pt x="2907830" y="2248541"/>
                </a:cubicBezTo>
                <a:lnTo>
                  <a:pt x="2933605" y="2261759"/>
                </a:lnTo>
                <a:cubicBezTo>
                  <a:pt x="2932723" y="2263487"/>
                  <a:pt x="2931822" y="2265234"/>
                  <a:pt x="2930921" y="2266962"/>
                </a:cubicBezTo>
                <a:close/>
                <a:moveTo>
                  <a:pt x="173881" y="2265877"/>
                </a:moveTo>
                <a:cubicBezTo>
                  <a:pt x="172980" y="2264149"/>
                  <a:pt x="172098" y="2262421"/>
                  <a:pt x="171215" y="2260693"/>
                </a:cubicBezTo>
                <a:lnTo>
                  <a:pt x="196991" y="2247474"/>
                </a:lnTo>
                <a:cubicBezTo>
                  <a:pt x="197873" y="2249184"/>
                  <a:pt x="198737" y="2250875"/>
                  <a:pt x="199620" y="2252585"/>
                </a:cubicBezTo>
                <a:lnTo>
                  <a:pt x="173881" y="2265896"/>
                </a:lnTo>
                <a:close/>
                <a:moveTo>
                  <a:pt x="2940224" y="2248724"/>
                </a:moveTo>
                <a:lnTo>
                  <a:pt x="2914320" y="2235763"/>
                </a:lnTo>
                <a:cubicBezTo>
                  <a:pt x="2915184" y="2234054"/>
                  <a:pt x="2916030" y="2232344"/>
                  <a:pt x="2916875" y="2230616"/>
                </a:cubicBezTo>
                <a:lnTo>
                  <a:pt x="2942834" y="2243503"/>
                </a:lnTo>
                <a:cubicBezTo>
                  <a:pt x="2941970" y="2245250"/>
                  <a:pt x="2941106" y="2246996"/>
                  <a:pt x="2940224" y="2248724"/>
                </a:cubicBezTo>
                <a:close/>
                <a:moveTo>
                  <a:pt x="164597" y="2247640"/>
                </a:moveTo>
                <a:lnTo>
                  <a:pt x="161968" y="2242382"/>
                </a:lnTo>
                <a:lnTo>
                  <a:pt x="187927" y="2229494"/>
                </a:lnTo>
                <a:lnTo>
                  <a:pt x="190482" y="2234642"/>
                </a:lnTo>
                <a:lnTo>
                  <a:pt x="164579" y="2247640"/>
                </a:lnTo>
                <a:close/>
                <a:moveTo>
                  <a:pt x="2949269" y="2230358"/>
                </a:moveTo>
                <a:lnTo>
                  <a:pt x="2923181" y="2217728"/>
                </a:lnTo>
                <a:cubicBezTo>
                  <a:pt x="2924008" y="2216000"/>
                  <a:pt x="2924854" y="2214272"/>
                  <a:pt x="2925681" y="2212544"/>
                </a:cubicBezTo>
                <a:lnTo>
                  <a:pt x="2951806" y="2225082"/>
                </a:lnTo>
                <a:cubicBezTo>
                  <a:pt x="2950960" y="2226847"/>
                  <a:pt x="2950115" y="2228593"/>
                  <a:pt x="2949269" y="2230340"/>
                </a:cubicBezTo>
                <a:close/>
                <a:moveTo>
                  <a:pt x="155533" y="2229200"/>
                </a:moveTo>
                <a:cubicBezTo>
                  <a:pt x="154669" y="2227435"/>
                  <a:pt x="153824" y="2225670"/>
                  <a:pt x="152978" y="2223905"/>
                </a:cubicBezTo>
                <a:lnTo>
                  <a:pt x="179102" y="2211385"/>
                </a:lnTo>
                <a:cubicBezTo>
                  <a:pt x="179930" y="2213114"/>
                  <a:pt x="180757" y="2214842"/>
                  <a:pt x="181603" y="2216570"/>
                </a:cubicBezTo>
                <a:lnTo>
                  <a:pt x="155533" y="2229200"/>
                </a:lnTo>
                <a:close/>
                <a:moveTo>
                  <a:pt x="2958075" y="2211882"/>
                </a:moveTo>
                <a:lnTo>
                  <a:pt x="2931840" y="2199583"/>
                </a:lnTo>
                <a:cubicBezTo>
                  <a:pt x="2932649" y="2197854"/>
                  <a:pt x="2933458" y="2196126"/>
                  <a:pt x="2934267" y="2194380"/>
                </a:cubicBezTo>
                <a:lnTo>
                  <a:pt x="2960557" y="2206569"/>
                </a:lnTo>
                <a:cubicBezTo>
                  <a:pt x="2959730" y="2208333"/>
                  <a:pt x="2958902" y="2210117"/>
                  <a:pt x="2958075" y="2211882"/>
                </a:cubicBezTo>
                <a:close/>
                <a:moveTo>
                  <a:pt x="146690" y="2210668"/>
                </a:moveTo>
                <a:cubicBezTo>
                  <a:pt x="145863" y="2208903"/>
                  <a:pt x="145036" y="2207120"/>
                  <a:pt x="144208" y="2205355"/>
                </a:cubicBezTo>
                <a:lnTo>
                  <a:pt x="170498" y="2193148"/>
                </a:lnTo>
                <a:cubicBezTo>
                  <a:pt x="171307" y="2194894"/>
                  <a:pt x="172116" y="2196641"/>
                  <a:pt x="172944" y="2198369"/>
                </a:cubicBezTo>
                <a:lnTo>
                  <a:pt x="146709" y="2210668"/>
                </a:lnTo>
                <a:close/>
                <a:moveTo>
                  <a:pt x="2966624" y="2193277"/>
                </a:moveTo>
                <a:lnTo>
                  <a:pt x="2940224" y="2181345"/>
                </a:lnTo>
                <a:cubicBezTo>
                  <a:pt x="2941014" y="2179599"/>
                  <a:pt x="2941805" y="2177852"/>
                  <a:pt x="2942577" y="2176105"/>
                </a:cubicBezTo>
                <a:lnTo>
                  <a:pt x="2969014" y="2187945"/>
                </a:lnTo>
                <a:cubicBezTo>
                  <a:pt x="2968223" y="2189728"/>
                  <a:pt x="2967414" y="2191493"/>
                  <a:pt x="2966606" y="2193277"/>
                </a:cubicBezTo>
                <a:close/>
                <a:moveTo>
                  <a:pt x="138105" y="2192008"/>
                </a:moveTo>
                <a:cubicBezTo>
                  <a:pt x="137296" y="2190225"/>
                  <a:pt x="136487" y="2188441"/>
                  <a:pt x="135696" y="2186658"/>
                </a:cubicBezTo>
                <a:lnTo>
                  <a:pt x="162133" y="2174800"/>
                </a:lnTo>
                <a:cubicBezTo>
                  <a:pt x="162924" y="2176547"/>
                  <a:pt x="163714" y="2178312"/>
                  <a:pt x="164505" y="2180058"/>
                </a:cubicBezTo>
                <a:lnTo>
                  <a:pt x="138105" y="2192008"/>
                </a:lnTo>
                <a:close/>
                <a:moveTo>
                  <a:pt x="2974952" y="2174561"/>
                </a:moveTo>
                <a:lnTo>
                  <a:pt x="2948405" y="2162979"/>
                </a:lnTo>
                <a:cubicBezTo>
                  <a:pt x="2949177" y="2161232"/>
                  <a:pt x="2949931" y="2159467"/>
                  <a:pt x="2950684" y="2157703"/>
                </a:cubicBezTo>
                <a:lnTo>
                  <a:pt x="2977287" y="2169193"/>
                </a:lnTo>
                <a:cubicBezTo>
                  <a:pt x="2976515" y="2170976"/>
                  <a:pt x="2975743" y="2172778"/>
                  <a:pt x="2974952" y="2174561"/>
                </a:cubicBezTo>
                <a:close/>
                <a:moveTo>
                  <a:pt x="129740" y="2173256"/>
                </a:moveTo>
                <a:cubicBezTo>
                  <a:pt x="128949" y="2171454"/>
                  <a:pt x="128177" y="2169671"/>
                  <a:pt x="127405" y="2167869"/>
                </a:cubicBezTo>
                <a:lnTo>
                  <a:pt x="153989" y="2156361"/>
                </a:lnTo>
                <a:cubicBezTo>
                  <a:pt x="154761" y="2158125"/>
                  <a:pt x="155515" y="2159890"/>
                  <a:pt x="156287" y="2161655"/>
                </a:cubicBezTo>
                <a:lnTo>
                  <a:pt x="129740" y="2173256"/>
                </a:lnTo>
                <a:close/>
                <a:moveTo>
                  <a:pt x="2983023" y="2155754"/>
                </a:moveTo>
                <a:lnTo>
                  <a:pt x="2956329" y="2144502"/>
                </a:lnTo>
                <a:cubicBezTo>
                  <a:pt x="2957064" y="2142737"/>
                  <a:pt x="2957818" y="2140973"/>
                  <a:pt x="2958553" y="2139208"/>
                </a:cubicBezTo>
                <a:lnTo>
                  <a:pt x="2985302" y="2150349"/>
                </a:lnTo>
                <a:cubicBezTo>
                  <a:pt x="2984549" y="2152150"/>
                  <a:pt x="2983795" y="2153952"/>
                  <a:pt x="2983041" y="2155754"/>
                </a:cubicBezTo>
                <a:close/>
                <a:moveTo>
                  <a:pt x="121651" y="2154375"/>
                </a:moveTo>
                <a:cubicBezTo>
                  <a:pt x="120897" y="2152573"/>
                  <a:pt x="120125" y="2150772"/>
                  <a:pt x="119371" y="2148951"/>
                </a:cubicBezTo>
                <a:lnTo>
                  <a:pt x="146120" y="2137792"/>
                </a:lnTo>
                <a:cubicBezTo>
                  <a:pt x="146856" y="2139557"/>
                  <a:pt x="147610" y="2141340"/>
                  <a:pt x="148345" y="2143105"/>
                </a:cubicBezTo>
                <a:lnTo>
                  <a:pt x="121651" y="2154356"/>
                </a:lnTo>
                <a:close/>
                <a:moveTo>
                  <a:pt x="2990836" y="2136818"/>
                </a:moveTo>
                <a:lnTo>
                  <a:pt x="2963995" y="2125934"/>
                </a:lnTo>
                <a:cubicBezTo>
                  <a:pt x="2964712" y="2124169"/>
                  <a:pt x="2965429" y="2122386"/>
                  <a:pt x="2966146" y="2120602"/>
                </a:cubicBezTo>
                <a:lnTo>
                  <a:pt x="2993043" y="2131394"/>
                </a:lnTo>
                <a:cubicBezTo>
                  <a:pt x="2992307" y="2133196"/>
                  <a:pt x="2991590" y="2135016"/>
                  <a:pt x="2990855" y="2136818"/>
                </a:cubicBezTo>
                <a:close/>
                <a:moveTo>
                  <a:pt x="113800" y="2135402"/>
                </a:moveTo>
                <a:cubicBezTo>
                  <a:pt x="113065" y="2133582"/>
                  <a:pt x="112330" y="2131780"/>
                  <a:pt x="111594" y="2129960"/>
                </a:cubicBezTo>
                <a:lnTo>
                  <a:pt x="138472" y="2119150"/>
                </a:lnTo>
                <a:cubicBezTo>
                  <a:pt x="139189" y="2120933"/>
                  <a:pt x="139906" y="2122717"/>
                  <a:pt x="140623" y="2124482"/>
                </a:cubicBezTo>
                <a:lnTo>
                  <a:pt x="113782" y="2135384"/>
                </a:lnTo>
                <a:close/>
                <a:moveTo>
                  <a:pt x="2998429" y="2117771"/>
                </a:moveTo>
                <a:lnTo>
                  <a:pt x="2971441" y="2107255"/>
                </a:lnTo>
                <a:cubicBezTo>
                  <a:pt x="2972139" y="2105472"/>
                  <a:pt x="2972838" y="2103689"/>
                  <a:pt x="2973518" y="2101887"/>
                </a:cubicBezTo>
                <a:lnTo>
                  <a:pt x="3000543" y="2112329"/>
                </a:lnTo>
                <a:cubicBezTo>
                  <a:pt x="2999845" y="2114149"/>
                  <a:pt x="2999128" y="2115951"/>
                  <a:pt x="2998429" y="2117771"/>
                </a:cubicBezTo>
                <a:close/>
                <a:moveTo>
                  <a:pt x="106189" y="2116337"/>
                </a:moveTo>
                <a:cubicBezTo>
                  <a:pt x="105472" y="2114517"/>
                  <a:pt x="104774" y="2112697"/>
                  <a:pt x="104057" y="2110877"/>
                </a:cubicBezTo>
                <a:lnTo>
                  <a:pt x="131082" y="2100435"/>
                </a:lnTo>
                <a:cubicBezTo>
                  <a:pt x="131781" y="2102218"/>
                  <a:pt x="132479" y="2104020"/>
                  <a:pt x="133178" y="2105803"/>
                </a:cubicBezTo>
                <a:lnTo>
                  <a:pt x="106189" y="2116356"/>
                </a:lnTo>
                <a:close/>
                <a:moveTo>
                  <a:pt x="3005746" y="2098670"/>
                </a:moveTo>
                <a:lnTo>
                  <a:pt x="2978629" y="2088485"/>
                </a:lnTo>
                <a:cubicBezTo>
                  <a:pt x="2979309" y="2086701"/>
                  <a:pt x="2979971" y="2084900"/>
                  <a:pt x="2980633" y="2083116"/>
                </a:cubicBezTo>
                <a:lnTo>
                  <a:pt x="3007805" y="2093191"/>
                </a:lnTo>
                <a:cubicBezTo>
                  <a:pt x="3007125" y="2095030"/>
                  <a:pt x="3006445" y="2096850"/>
                  <a:pt x="3005764" y="2098688"/>
                </a:cubicBezTo>
                <a:close/>
                <a:moveTo>
                  <a:pt x="98835" y="2097162"/>
                </a:moveTo>
                <a:cubicBezTo>
                  <a:pt x="98155" y="2095324"/>
                  <a:pt x="97457" y="2093504"/>
                  <a:pt x="96776" y="2091665"/>
                </a:cubicBezTo>
                <a:lnTo>
                  <a:pt x="123930" y="2081572"/>
                </a:lnTo>
                <a:cubicBezTo>
                  <a:pt x="124592" y="2083374"/>
                  <a:pt x="125272" y="2085175"/>
                  <a:pt x="125953" y="2086977"/>
                </a:cubicBezTo>
                <a:lnTo>
                  <a:pt x="98835" y="2097162"/>
                </a:lnTo>
                <a:close/>
                <a:moveTo>
                  <a:pt x="3012824" y="2079439"/>
                </a:moveTo>
                <a:lnTo>
                  <a:pt x="2985560" y="2069622"/>
                </a:lnTo>
                <a:cubicBezTo>
                  <a:pt x="2986204" y="2067820"/>
                  <a:pt x="2986865" y="2066019"/>
                  <a:pt x="2987509" y="2064199"/>
                </a:cubicBezTo>
                <a:lnTo>
                  <a:pt x="3014791" y="2073924"/>
                </a:lnTo>
                <a:cubicBezTo>
                  <a:pt x="3014130" y="2075762"/>
                  <a:pt x="3013486" y="2077601"/>
                  <a:pt x="3012824" y="2079421"/>
                </a:cubicBezTo>
                <a:close/>
                <a:moveTo>
                  <a:pt x="91739" y="2077895"/>
                </a:moveTo>
                <a:cubicBezTo>
                  <a:pt x="91077" y="2076057"/>
                  <a:pt x="90415" y="2074218"/>
                  <a:pt x="89753" y="2072380"/>
                </a:cubicBezTo>
                <a:lnTo>
                  <a:pt x="117036" y="2062636"/>
                </a:lnTo>
                <a:cubicBezTo>
                  <a:pt x="117680" y="2064438"/>
                  <a:pt x="118323" y="2066258"/>
                  <a:pt x="118985" y="2068059"/>
                </a:cubicBezTo>
                <a:lnTo>
                  <a:pt x="91721" y="2077895"/>
                </a:lnTo>
                <a:close/>
                <a:moveTo>
                  <a:pt x="3019645" y="2060117"/>
                </a:moveTo>
                <a:lnTo>
                  <a:pt x="2992252" y="2050668"/>
                </a:lnTo>
                <a:cubicBezTo>
                  <a:pt x="2992877" y="2048847"/>
                  <a:pt x="2993502" y="2047046"/>
                  <a:pt x="2994127" y="2045226"/>
                </a:cubicBezTo>
                <a:lnTo>
                  <a:pt x="3021539" y="2054602"/>
                </a:lnTo>
                <a:cubicBezTo>
                  <a:pt x="3020913" y="2056440"/>
                  <a:pt x="3020270" y="2058279"/>
                  <a:pt x="3019645" y="2060136"/>
                </a:cubicBezTo>
                <a:close/>
                <a:moveTo>
                  <a:pt x="84900" y="2058536"/>
                </a:moveTo>
                <a:cubicBezTo>
                  <a:pt x="84256" y="2056679"/>
                  <a:pt x="83631" y="2054841"/>
                  <a:pt x="82988" y="2052984"/>
                </a:cubicBezTo>
                <a:lnTo>
                  <a:pt x="110399" y="2043608"/>
                </a:lnTo>
                <a:cubicBezTo>
                  <a:pt x="111024" y="2045428"/>
                  <a:pt x="111649" y="2047230"/>
                  <a:pt x="112274" y="2049050"/>
                </a:cubicBezTo>
                <a:lnTo>
                  <a:pt x="84900" y="2058518"/>
                </a:lnTo>
                <a:close/>
                <a:moveTo>
                  <a:pt x="3026208" y="2040722"/>
                </a:moveTo>
                <a:lnTo>
                  <a:pt x="2998705" y="2031621"/>
                </a:lnTo>
                <a:cubicBezTo>
                  <a:pt x="2999311" y="2029801"/>
                  <a:pt x="2999900" y="2027981"/>
                  <a:pt x="3000507" y="2026161"/>
                </a:cubicBezTo>
                <a:lnTo>
                  <a:pt x="3028047" y="2035169"/>
                </a:lnTo>
                <a:cubicBezTo>
                  <a:pt x="3027440" y="2037026"/>
                  <a:pt x="3026833" y="2038865"/>
                  <a:pt x="3026227" y="2040722"/>
                </a:cubicBezTo>
                <a:close/>
                <a:moveTo>
                  <a:pt x="78318" y="2039104"/>
                </a:moveTo>
                <a:cubicBezTo>
                  <a:pt x="77693" y="2037247"/>
                  <a:pt x="77086" y="2035390"/>
                  <a:pt x="76480" y="2033515"/>
                </a:cubicBezTo>
                <a:lnTo>
                  <a:pt x="104020" y="2024525"/>
                </a:lnTo>
                <a:cubicBezTo>
                  <a:pt x="104608" y="2026345"/>
                  <a:pt x="105215" y="2028165"/>
                  <a:pt x="105822" y="2029985"/>
                </a:cubicBezTo>
                <a:lnTo>
                  <a:pt x="78318" y="2039104"/>
                </a:lnTo>
                <a:close/>
                <a:moveTo>
                  <a:pt x="3032533" y="2021216"/>
                </a:moveTo>
                <a:lnTo>
                  <a:pt x="3004900" y="2012483"/>
                </a:lnTo>
                <a:cubicBezTo>
                  <a:pt x="3005470" y="2010645"/>
                  <a:pt x="3006059" y="2008824"/>
                  <a:pt x="3006629" y="2006986"/>
                </a:cubicBezTo>
                <a:lnTo>
                  <a:pt x="3034279" y="2015645"/>
                </a:lnTo>
                <a:cubicBezTo>
                  <a:pt x="3033691" y="2017502"/>
                  <a:pt x="3033121" y="2019359"/>
                  <a:pt x="3032533" y="2021216"/>
                </a:cubicBezTo>
                <a:close/>
                <a:moveTo>
                  <a:pt x="71994" y="2019561"/>
                </a:moveTo>
                <a:cubicBezTo>
                  <a:pt x="71406" y="2017704"/>
                  <a:pt x="70817" y="2015829"/>
                  <a:pt x="70229" y="2013954"/>
                </a:cubicBezTo>
                <a:lnTo>
                  <a:pt x="97879" y="2005313"/>
                </a:lnTo>
                <a:cubicBezTo>
                  <a:pt x="98449" y="2007151"/>
                  <a:pt x="99019" y="2008971"/>
                  <a:pt x="99608" y="2010810"/>
                </a:cubicBezTo>
                <a:lnTo>
                  <a:pt x="71976" y="2019561"/>
                </a:lnTo>
                <a:close/>
                <a:moveTo>
                  <a:pt x="3038581" y="2001654"/>
                </a:moveTo>
                <a:lnTo>
                  <a:pt x="3010839" y="1993271"/>
                </a:lnTo>
                <a:cubicBezTo>
                  <a:pt x="3011390" y="1991433"/>
                  <a:pt x="3011942" y="1989594"/>
                  <a:pt x="3012493" y="1987756"/>
                </a:cubicBezTo>
                <a:lnTo>
                  <a:pt x="3040254" y="1996047"/>
                </a:lnTo>
                <a:cubicBezTo>
                  <a:pt x="3039703" y="1997922"/>
                  <a:pt x="3039133" y="1999779"/>
                  <a:pt x="3038581" y="2001654"/>
                </a:cubicBezTo>
                <a:close/>
                <a:moveTo>
                  <a:pt x="65927" y="1999963"/>
                </a:moveTo>
                <a:cubicBezTo>
                  <a:pt x="65357" y="1998088"/>
                  <a:pt x="64806" y="1996213"/>
                  <a:pt x="64236" y="1994337"/>
                </a:cubicBezTo>
                <a:lnTo>
                  <a:pt x="91996" y="1986064"/>
                </a:lnTo>
                <a:cubicBezTo>
                  <a:pt x="92548" y="1987903"/>
                  <a:pt x="93099" y="1989741"/>
                  <a:pt x="93651" y="1991580"/>
                </a:cubicBezTo>
                <a:lnTo>
                  <a:pt x="65909" y="1999963"/>
                </a:lnTo>
                <a:close/>
                <a:moveTo>
                  <a:pt x="3044390" y="1982001"/>
                </a:moveTo>
                <a:lnTo>
                  <a:pt x="3016556" y="1973986"/>
                </a:lnTo>
                <a:cubicBezTo>
                  <a:pt x="3017089" y="1972147"/>
                  <a:pt x="3017604" y="1970309"/>
                  <a:pt x="3018137" y="1968470"/>
                </a:cubicBezTo>
                <a:lnTo>
                  <a:pt x="3046008" y="1976376"/>
                </a:lnTo>
                <a:cubicBezTo>
                  <a:pt x="3045475" y="1978251"/>
                  <a:pt x="3044942" y="1980126"/>
                  <a:pt x="3044390" y="1982001"/>
                </a:cubicBezTo>
                <a:close/>
                <a:moveTo>
                  <a:pt x="60118" y="1980273"/>
                </a:moveTo>
                <a:cubicBezTo>
                  <a:pt x="59584" y="1978398"/>
                  <a:pt x="59033" y="1976523"/>
                  <a:pt x="58500" y="1974629"/>
                </a:cubicBezTo>
                <a:lnTo>
                  <a:pt x="86371" y="1966724"/>
                </a:lnTo>
                <a:cubicBezTo>
                  <a:pt x="86885" y="1968562"/>
                  <a:pt x="87419" y="1970419"/>
                  <a:pt x="87952" y="1972258"/>
                </a:cubicBezTo>
                <a:lnTo>
                  <a:pt x="60099" y="1980273"/>
                </a:lnTo>
                <a:close/>
                <a:moveTo>
                  <a:pt x="3049924" y="1962275"/>
                </a:moveTo>
                <a:lnTo>
                  <a:pt x="3021980" y="1954627"/>
                </a:lnTo>
                <a:cubicBezTo>
                  <a:pt x="3022476" y="1952788"/>
                  <a:pt x="3022991" y="1950932"/>
                  <a:pt x="3023487" y="1949093"/>
                </a:cubicBezTo>
                <a:lnTo>
                  <a:pt x="3051469" y="1956631"/>
                </a:lnTo>
                <a:cubicBezTo>
                  <a:pt x="3050954" y="1958524"/>
                  <a:pt x="3050439" y="1960399"/>
                  <a:pt x="3049924" y="1962275"/>
                </a:cubicBezTo>
                <a:close/>
                <a:moveTo>
                  <a:pt x="54565" y="1960510"/>
                </a:moveTo>
                <a:cubicBezTo>
                  <a:pt x="54051" y="1958616"/>
                  <a:pt x="53536" y="1956741"/>
                  <a:pt x="53021" y="1954847"/>
                </a:cubicBezTo>
                <a:lnTo>
                  <a:pt x="81002" y="1947310"/>
                </a:lnTo>
                <a:cubicBezTo>
                  <a:pt x="81499" y="1949166"/>
                  <a:pt x="82014" y="1951023"/>
                  <a:pt x="82510" y="1952862"/>
                </a:cubicBezTo>
                <a:lnTo>
                  <a:pt x="54565" y="1960491"/>
                </a:lnTo>
                <a:close/>
                <a:moveTo>
                  <a:pt x="3055219" y="1942474"/>
                </a:moveTo>
                <a:lnTo>
                  <a:pt x="3027183" y="1935176"/>
                </a:lnTo>
                <a:cubicBezTo>
                  <a:pt x="3027661" y="1933319"/>
                  <a:pt x="3028139" y="1931462"/>
                  <a:pt x="3028617" y="1929605"/>
                </a:cubicBezTo>
                <a:lnTo>
                  <a:pt x="3056690" y="1936794"/>
                </a:lnTo>
                <a:cubicBezTo>
                  <a:pt x="3056212" y="1938687"/>
                  <a:pt x="3055715" y="1940581"/>
                  <a:pt x="3055219" y="1942456"/>
                </a:cubicBezTo>
                <a:close/>
                <a:moveTo>
                  <a:pt x="49289" y="1940673"/>
                </a:moveTo>
                <a:cubicBezTo>
                  <a:pt x="48793" y="1938779"/>
                  <a:pt x="48315" y="1936886"/>
                  <a:pt x="47837" y="1934992"/>
                </a:cubicBezTo>
                <a:lnTo>
                  <a:pt x="75910" y="1927840"/>
                </a:lnTo>
                <a:cubicBezTo>
                  <a:pt x="76388" y="1929697"/>
                  <a:pt x="76866" y="1931554"/>
                  <a:pt x="77344" y="1933411"/>
                </a:cubicBezTo>
                <a:lnTo>
                  <a:pt x="49289" y="1940673"/>
                </a:lnTo>
                <a:close/>
                <a:moveTo>
                  <a:pt x="3060238" y="1922601"/>
                </a:moveTo>
                <a:lnTo>
                  <a:pt x="3032110" y="1915688"/>
                </a:lnTo>
                <a:cubicBezTo>
                  <a:pt x="3032569" y="1913831"/>
                  <a:pt x="3033011" y="1911975"/>
                  <a:pt x="3033470" y="1910099"/>
                </a:cubicBezTo>
                <a:lnTo>
                  <a:pt x="3061635" y="1916902"/>
                </a:lnTo>
                <a:cubicBezTo>
                  <a:pt x="3061176" y="1918795"/>
                  <a:pt x="3060716" y="1920689"/>
                  <a:pt x="3060238" y="1922601"/>
                </a:cubicBezTo>
                <a:close/>
                <a:moveTo>
                  <a:pt x="44270" y="1920762"/>
                </a:moveTo>
                <a:cubicBezTo>
                  <a:pt x="43810" y="1918869"/>
                  <a:pt x="43351" y="1916957"/>
                  <a:pt x="42891" y="1915063"/>
                </a:cubicBezTo>
                <a:lnTo>
                  <a:pt x="71056" y="1908279"/>
                </a:lnTo>
                <a:cubicBezTo>
                  <a:pt x="71498" y="1910136"/>
                  <a:pt x="71957" y="1912011"/>
                  <a:pt x="72417" y="1913868"/>
                </a:cubicBezTo>
                <a:lnTo>
                  <a:pt x="44270" y="1920762"/>
                </a:lnTo>
                <a:close/>
                <a:moveTo>
                  <a:pt x="3065018" y="1902654"/>
                </a:moveTo>
                <a:lnTo>
                  <a:pt x="3036779" y="1896127"/>
                </a:lnTo>
                <a:cubicBezTo>
                  <a:pt x="3037221" y="1894252"/>
                  <a:pt x="3037643" y="1892395"/>
                  <a:pt x="3038066" y="1890520"/>
                </a:cubicBezTo>
                <a:lnTo>
                  <a:pt x="3066323" y="1896954"/>
                </a:lnTo>
                <a:cubicBezTo>
                  <a:pt x="3065882" y="1898848"/>
                  <a:pt x="3065459" y="1900760"/>
                  <a:pt x="3065018" y="1902654"/>
                </a:cubicBezTo>
                <a:close/>
                <a:moveTo>
                  <a:pt x="39527" y="1900797"/>
                </a:moveTo>
                <a:cubicBezTo>
                  <a:pt x="39086" y="1898885"/>
                  <a:pt x="38644" y="1896991"/>
                  <a:pt x="38222" y="1895079"/>
                </a:cubicBezTo>
                <a:lnTo>
                  <a:pt x="66479" y="1888663"/>
                </a:lnTo>
                <a:cubicBezTo>
                  <a:pt x="66901" y="1890538"/>
                  <a:pt x="67324" y="1892395"/>
                  <a:pt x="67765" y="1894270"/>
                </a:cubicBezTo>
                <a:lnTo>
                  <a:pt x="39527" y="1900797"/>
                </a:lnTo>
                <a:close/>
                <a:moveTo>
                  <a:pt x="3069504" y="1882670"/>
                </a:moveTo>
                <a:lnTo>
                  <a:pt x="3041192" y="1876511"/>
                </a:lnTo>
                <a:cubicBezTo>
                  <a:pt x="3041596" y="1874636"/>
                  <a:pt x="3042001" y="1872760"/>
                  <a:pt x="3042405" y="1870885"/>
                </a:cubicBezTo>
                <a:lnTo>
                  <a:pt x="3070736" y="1876970"/>
                </a:lnTo>
                <a:cubicBezTo>
                  <a:pt x="3070331" y="1878882"/>
                  <a:pt x="3069908" y="1880776"/>
                  <a:pt x="3069504" y="1882688"/>
                </a:cubicBezTo>
                <a:close/>
                <a:moveTo>
                  <a:pt x="35041" y="1880776"/>
                </a:moveTo>
                <a:cubicBezTo>
                  <a:pt x="34618" y="1878864"/>
                  <a:pt x="34214" y="1876952"/>
                  <a:pt x="33809" y="1875040"/>
                </a:cubicBezTo>
                <a:lnTo>
                  <a:pt x="62140" y="1869010"/>
                </a:lnTo>
                <a:cubicBezTo>
                  <a:pt x="62544" y="1870885"/>
                  <a:pt x="62949" y="1872760"/>
                  <a:pt x="63353" y="1874636"/>
                </a:cubicBezTo>
                <a:lnTo>
                  <a:pt x="35041" y="1880776"/>
                </a:lnTo>
                <a:close/>
                <a:moveTo>
                  <a:pt x="3073751" y="1862612"/>
                </a:moveTo>
                <a:lnTo>
                  <a:pt x="3045365" y="1856784"/>
                </a:lnTo>
                <a:cubicBezTo>
                  <a:pt x="3045751" y="1854909"/>
                  <a:pt x="3046137" y="1853034"/>
                  <a:pt x="3046505" y="1851158"/>
                </a:cubicBezTo>
                <a:lnTo>
                  <a:pt x="3074909" y="1856858"/>
                </a:lnTo>
                <a:cubicBezTo>
                  <a:pt x="3074523" y="1858770"/>
                  <a:pt x="3074137" y="1860700"/>
                  <a:pt x="3073751" y="1862612"/>
                </a:cubicBezTo>
                <a:close/>
                <a:moveTo>
                  <a:pt x="30813" y="1860700"/>
                </a:moveTo>
                <a:cubicBezTo>
                  <a:pt x="30426" y="1858788"/>
                  <a:pt x="30040" y="1856858"/>
                  <a:pt x="29654" y="1854946"/>
                </a:cubicBezTo>
                <a:lnTo>
                  <a:pt x="58077" y="1849283"/>
                </a:lnTo>
                <a:cubicBezTo>
                  <a:pt x="58445" y="1851158"/>
                  <a:pt x="58831" y="1853052"/>
                  <a:pt x="59217" y="1854927"/>
                </a:cubicBezTo>
                <a:lnTo>
                  <a:pt x="30831" y="1860700"/>
                </a:lnTo>
                <a:close/>
                <a:moveTo>
                  <a:pt x="3077722" y="1842499"/>
                </a:moveTo>
                <a:lnTo>
                  <a:pt x="3049262" y="1837058"/>
                </a:lnTo>
                <a:cubicBezTo>
                  <a:pt x="3049630" y="1835182"/>
                  <a:pt x="3049979" y="1833289"/>
                  <a:pt x="3050329" y="1831413"/>
                </a:cubicBezTo>
                <a:lnTo>
                  <a:pt x="3078807" y="1836727"/>
                </a:lnTo>
                <a:cubicBezTo>
                  <a:pt x="3078439" y="1838657"/>
                  <a:pt x="3078089" y="1840569"/>
                  <a:pt x="3077722" y="1842499"/>
                </a:cubicBezTo>
                <a:close/>
                <a:moveTo>
                  <a:pt x="26860" y="1840551"/>
                </a:moveTo>
                <a:cubicBezTo>
                  <a:pt x="26492" y="1838620"/>
                  <a:pt x="26143" y="1836708"/>
                  <a:pt x="25775" y="1834778"/>
                </a:cubicBezTo>
                <a:lnTo>
                  <a:pt x="54271" y="1829502"/>
                </a:lnTo>
                <a:cubicBezTo>
                  <a:pt x="54621" y="1831395"/>
                  <a:pt x="54970" y="1833270"/>
                  <a:pt x="55338" y="1835146"/>
                </a:cubicBezTo>
                <a:lnTo>
                  <a:pt x="26860" y="1840532"/>
                </a:lnTo>
                <a:close/>
                <a:moveTo>
                  <a:pt x="3081435" y="1822331"/>
                </a:moveTo>
                <a:lnTo>
                  <a:pt x="3052903" y="1817276"/>
                </a:lnTo>
                <a:cubicBezTo>
                  <a:pt x="3053234" y="1815382"/>
                  <a:pt x="3053564" y="1813507"/>
                  <a:pt x="3053895" y="1811613"/>
                </a:cubicBezTo>
                <a:lnTo>
                  <a:pt x="3082447" y="1816559"/>
                </a:lnTo>
                <a:cubicBezTo>
                  <a:pt x="3082116" y="1818489"/>
                  <a:pt x="3081785" y="1820401"/>
                  <a:pt x="3081435" y="1822331"/>
                </a:cubicBezTo>
                <a:close/>
                <a:moveTo>
                  <a:pt x="23183" y="1820383"/>
                </a:moveTo>
                <a:cubicBezTo>
                  <a:pt x="22852" y="1818452"/>
                  <a:pt x="22503" y="1816522"/>
                  <a:pt x="22172" y="1814592"/>
                </a:cubicBezTo>
                <a:lnTo>
                  <a:pt x="50723" y="1809701"/>
                </a:lnTo>
                <a:cubicBezTo>
                  <a:pt x="51054" y="1811595"/>
                  <a:pt x="51366" y="1813470"/>
                  <a:pt x="51697" y="1815364"/>
                </a:cubicBezTo>
                <a:lnTo>
                  <a:pt x="23165" y="1820364"/>
                </a:lnTo>
                <a:close/>
                <a:moveTo>
                  <a:pt x="3084873" y="1802127"/>
                </a:moveTo>
                <a:lnTo>
                  <a:pt x="3056285" y="1797420"/>
                </a:lnTo>
                <a:cubicBezTo>
                  <a:pt x="3056598" y="1795527"/>
                  <a:pt x="3056892" y="1793633"/>
                  <a:pt x="3057205" y="1791758"/>
                </a:cubicBezTo>
                <a:lnTo>
                  <a:pt x="3085811" y="1796336"/>
                </a:lnTo>
                <a:cubicBezTo>
                  <a:pt x="3085498" y="1798266"/>
                  <a:pt x="3085186" y="1800197"/>
                  <a:pt x="3084873" y="1802127"/>
                </a:cubicBezTo>
                <a:close/>
                <a:moveTo>
                  <a:pt x="19782" y="1800141"/>
                </a:moveTo>
                <a:cubicBezTo>
                  <a:pt x="19469" y="1798211"/>
                  <a:pt x="19157" y="1796281"/>
                  <a:pt x="18863" y="1794350"/>
                </a:cubicBezTo>
                <a:lnTo>
                  <a:pt x="47487" y="1789846"/>
                </a:lnTo>
                <a:cubicBezTo>
                  <a:pt x="47781" y="1791740"/>
                  <a:pt x="48094" y="1793633"/>
                  <a:pt x="48388" y="1795527"/>
                </a:cubicBezTo>
                <a:lnTo>
                  <a:pt x="19782" y="1800160"/>
                </a:lnTo>
                <a:close/>
                <a:moveTo>
                  <a:pt x="3088054" y="1781849"/>
                </a:moveTo>
                <a:lnTo>
                  <a:pt x="3059392" y="1777547"/>
                </a:lnTo>
                <a:cubicBezTo>
                  <a:pt x="3059687" y="1775653"/>
                  <a:pt x="3059962" y="1773760"/>
                  <a:pt x="3060238" y="1771848"/>
                </a:cubicBezTo>
                <a:lnTo>
                  <a:pt x="3088900" y="1776039"/>
                </a:lnTo>
                <a:cubicBezTo>
                  <a:pt x="3088624" y="1777970"/>
                  <a:pt x="3088330" y="1779900"/>
                  <a:pt x="3088035" y="1781830"/>
                </a:cubicBezTo>
                <a:close/>
                <a:moveTo>
                  <a:pt x="16638" y="1779863"/>
                </a:moveTo>
                <a:cubicBezTo>
                  <a:pt x="16344" y="1777933"/>
                  <a:pt x="16068" y="1776003"/>
                  <a:pt x="15792" y="1774054"/>
                </a:cubicBezTo>
                <a:lnTo>
                  <a:pt x="44472" y="1769917"/>
                </a:lnTo>
                <a:cubicBezTo>
                  <a:pt x="44748" y="1771811"/>
                  <a:pt x="45024" y="1773704"/>
                  <a:pt x="45300" y="1775598"/>
                </a:cubicBezTo>
                <a:lnTo>
                  <a:pt x="16638" y="1779845"/>
                </a:lnTo>
                <a:close/>
                <a:moveTo>
                  <a:pt x="3090959" y="1761552"/>
                </a:moveTo>
                <a:lnTo>
                  <a:pt x="3062260" y="1757618"/>
                </a:lnTo>
                <a:cubicBezTo>
                  <a:pt x="3062518" y="1755724"/>
                  <a:pt x="3062775" y="1753831"/>
                  <a:pt x="3063032" y="1751937"/>
                </a:cubicBezTo>
                <a:lnTo>
                  <a:pt x="3091749" y="1755743"/>
                </a:lnTo>
                <a:cubicBezTo>
                  <a:pt x="3091492" y="1757673"/>
                  <a:pt x="3091234" y="1759622"/>
                  <a:pt x="3090959" y="1761552"/>
                </a:cubicBezTo>
                <a:close/>
                <a:moveTo>
                  <a:pt x="13770" y="1759548"/>
                </a:moveTo>
                <a:cubicBezTo>
                  <a:pt x="13513" y="1757618"/>
                  <a:pt x="13255" y="1755669"/>
                  <a:pt x="12998" y="1753739"/>
                </a:cubicBezTo>
                <a:lnTo>
                  <a:pt x="41733" y="1749988"/>
                </a:lnTo>
                <a:cubicBezTo>
                  <a:pt x="41990" y="1751882"/>
                  <a:pt x="42229" y="1753794"/>
                  <a:pt x="42487" y="1755688"/>
                </a:cubicBezTo>
                <a:lnTo>
                  <a:pt x="13770" y="1759548"/>
                </a:lnTo>
                <a:close/>
                <a:moveTo>
                  <a:pt x="3093606" y="1741219"/>
                </a:moveTo>
                <a:lnTo>
                  <a:pt x="3064852" y="1737671"/>
                </a:lnTo>
                <a:cubicBezTo>
                  <a:pt x="3065091" y="1735777"/>
                  <a:pt x="3065312" y="1733865"/>
                  <a:pt x="3065551" y="1731972"/>
                </a:cubicBezTo>
                <a:lnTo>
                  <a:pt x="3094323" y="1735409"/>
                </a:lnTo>
                <a:cubicBezTo>
                  <a:pt x="3094084" y="1737358"/>
                  <a:pt x="3093863" y="1739289"/>
                  <a:pt x="3093606" y="1741237"/>
                </a:cubicBezTo>
                <a:close/>
                <a:moveTo>
                  <a:pt x="11159" y="1739197"/>
                </a:moveTo>
                <a:cubicBezTo>
                  <a:pt x="10920" y="1737248"/>
                  <a:pt x="10700" y="1735318"/>
                  <a:pt x="10461" y="1733369"/>
                </a:cubicBezTo>
                <a:lnTo>
                  <a:pt x="39233" y="1730004"/>
                </a:lnTo>
                <a:cubicBezTo>
                  <a:pt x="39453" y="1731898"/>
                  <a:pt x="39674" y="1733810"/>
                  <a:pt x="39913" y="1735704"/>
                </a:cubicBezTo>
                <a:lnTo>
                  <a:pt x="11141" y="1739178"/>
                </a:lnTo>
                <a:close/>
                <a:moveTo>
                  <a:pt x="3095996" y="1720849"/>
                </a:moveTo>
                <a:lnTo>
                  <a:pt x="3067206" y="1717668"/>
                </a:lnTo>
                <a:cubicBezTo>
                  <a:pt x="3067408" y="1715775"/>
                  <a:pt x="3067629" y="1713863"/>
                  <a:pt x="3067831" y="1711951"/>
                </a:cubicBezTo>
                <a:lnTo>
                  <a:pt x="3096639" y="1715002"/>
                </a:lnTo>
                <a:cubicBezTo>
                  <a:pt x="3096437" y="1716951"/>
                  <a:pt x="3096217" y="1718900"/>
                  <a:pt x="3096014" y="1720849"/>
                </a:cubicBezTo>
                <a:close/>
                <a:moveTo>
                  <a:pt x="8843" y="1718827"/>
                </a:moveTo>
                <a:cubicBezTo>
                  <a:pt x="8641" y="1716878"/>
                  <a:pt x="8420" y="1714929"/>
                  <a:pt x="8218" y="1712999"/>
                </a:cubicBezTo>
                <a:lnTo>
                  <a:pt x="37045" y="1710002"/>
                </a:lnTo>
                <a:cubicBezTo>
                  <a:pt x="37247" y="1711914"/>
                  <a:pt x="37449" y="1713808"/>
                  <a:pt x="37652" y="1715720"/>
                </a:cubicBezTo>
                <a:lnTo>
                  <a:pt x="8843" y="1718827"/>
                </a:lnTo>
                <a:close/>
                <a:moveTo>
                  <a:pt x="3098092" y="1700442"/>
                </a:moveTo>
                <a:lnTo>
                  <a:pt x="3069246" y="1697647"/>
                </a:lnTo>
                <a:cubicBezTo>
                  <a:pt x="3069430" y="1695736"/>
                  <a:pt x="3069614" y="1693842"/>
                  <a:pt x="3069780" y="1691930"/>
                </a:cubicBezTo>
                <a:lnTo>
                  <a:pt x="3098625" y="1694596"/>
                </a:lnTo>
                <a:cubicBezTo>
                  <a:pt x="3098441" y="1696544"/>
                  <a:pt x="3098257" y="1698493"/>
                  <a:pt x="3098073" y="1700442"/>
                </a:cubicBezTo>
                <a:close/>
                <a:moveTo>
                  <a:pt x="6784" y="1698420"/>
                </a:moveTo>
                <a:cubicBezTo>
                  <a:pt x="6600" y="1696471"/>
                  <a:pt x="6416" y="1694522"/>
                  <a:pt x="6251" y="1692592"/>
                </a:cubicBezTo>
                <a:lnTo>
                  <a:pt x="35115" y="1689981"/>
                </a:lnTo>
                <a:cubicBezTo>
                  <a:pt x="35280" y="1691893"/>
                  <a:pt x="35464" y="1693805"/>
                  <a:pt x="35648" y="1695717"/>
                </a:cubicBezTo>
                <a:lnTo>
                  <a:pt x="6802" y="1698420"/>
                </a:lnTo>
                <a:close/>
                <a:moveTo>
                  <a:pt x="3099930" y="1679998"/>
                </a:moveTo>
                <a:lnTo>
                  <a:pt x="3071048" y="1677590"/>
                </a:lnTo>
                <a:cubicBezTo>
                  <a:pt x="3071214" y="1675678"/>
                  <a:pt x="3071361" y="1673766"/>
                  <a:pt x="3071508" y="1671872"/>
                </a:cubicBezTo>
                <a:lnTo>
                  <a:pt x="3100390" y="1674152"/>
                </a:lnTo>
                <a:cubicBezTo>
                  <a:pt x="3100243" y="1676101"/>
                  <a:pt x="3100077" y="1678050"/>
                  <a:pt x="3099912" y="1679998"/>
                </a:cubicBezTo>
                <a:close/>
                <a:moveTo>
                  <a:pt x="5001" y="1677976"/>
                </a:moveTo>
                <a:cubicBezTo>
                  <a:pt x="4835" y="1676027"/>
                  <a:pt x="4688" y="1674079"/>
                  <a:pt x="4541" y="1672130"/>
                </a:cubicBezTo>
                <a:lnTo>
                  <a:pt x="33423" y="1669924"/>
                </a:lnTo>
                <a:cubicBezTo>
                  <a:pt x="33570" y="1671836"/>
                  <a:pt x="33717" y="1673748"/>
                  <a:pt x="33883" y="1675660"/>
                </a:cubicBezTo>
                <a:lnTo>
                  <a:pt x="5001" y="1677994"/>
                </a:lnTo>
                <a:close/>
                <a:moveTo>
                  <a:pt x="3101493" y="1659555"/>
                </a:moveTo>
                <a:lnTo>
                  <a:pt x="3072593" y="1657514"/>
                </a:lnTo>
                <a:cubicBezTo>
                  <a:pt x="3072721" y="1655602"/>
                  <a:pt x="3072850" y="1653690"/>
                  <a:pt x="3072979" y="1651778"/>
                </a:cubicBezTo>
                <a:lnTo>
                  <a:pt x="3101897" y="1653690"/>
                </a:lnTo>
                <a:cubicBezTo>
                  <a:pt x="3101769" y="1655639"/>
                  <a:pt x="3101640" y="1657588"/>
                  <a:pt x="3101493" y="1659555"/>
                </a:cubicBezTo>
                <a:close/>
                <a:moveTo>
                  <a:pt x="3475" y="1657532"/>
                </a:moveTo>
                <a:cubicBezTo>
                  <a:pt x="3346" y="1655584"/>
                  <a:pt x="3217" y="1653635"/>
                  <a:pt x="3089" y="1651686"/>
                </a:cubicBezTo>
                <a:lnTo>
                  <a:pt x="32008" y="1649848"/>
                </a:lnTo>
                <a:cubicBezTo>
                  <a:pt x="32136" y="1651760"/>
                  <a:pt x="32247" y="1653672"/>
                  <a:pt x="32375" y="1655584"/>
                </a:cubicBezTo>
                <a:lnTo>
                  <a:pt x="3475" y="1657532"/>
                </a:lnTo>
                <a:close/>
                <a:moveTo>
                  <a:pt x="3102798" y="1639074"/>
                </a:moveTo>
                <a:lnTo>
                  <a:pt x="3073879" y="1637420"/>
                </a:lnTo>
                <a:cubicBezTo>
                  <a:pt x="3073990" y="1635508"/>
                  <a:pt x="3074100" y="1633596"/>
                  <a:pt x="3074192" y="1631684"/>
                </a:cubicBezTo>
                <a:lnTo>
                  <a:pt x="3103129" y="1633210"/>
                </a:lnTo>
                <a:cubicBezTo>
                  <a:pt x="3103019" y="1635158"/>
                  <a:pt x="3102927" y="1637126"/>
                  <a:pt x="3102817" y="1639074"/>
                </a:cubicBezTo>
                <a:close/>
                <a:moveTo>
                  <a:pt x="2243" y="1637052"/>
                </a:moveTo>
                <a:cubicBezTo>
                  <a:pt x="2133" y="1635103"/>
                  <a:pt x="2041" y="1633155"/>
                  <a:pt x="1930" y="1631206"/>
                </a:cubicBezTo>
                <a:lnTo>
                  <a:pt x="30868" y="1629753"/>
                </a:lnTo>
                <a:cubicBezTo>
                  <a:pt x="30960" y="1631665"/>
                  <a:pt x="31070" y="1633577"/>
                  <a:pt x="31162" y="1635489"/>
                </a:cubicBezTo>
                <a:lnTo>
                  <a:pt x="2225" y="1637052"/>
                </a:lnTo>
                <a:close/>
                <a:moveTo>
                  <a:pt x="3103828" y="1618576"/>
                </a:moveTo>
                <a:lnTo>
                  <a:pt x="3074891" y="1617307"/>
                </a:lnTo>
                <a:cubicBezTo>
                  <a:pt x="3074982" y="1615395"/>
                  <a:pt x="3075056" y="1613483"/>
                  <a:pt x="3075130" y="1611571"/>
                </a:cubicBezTo>
                <a:lnTo>
                  <a:pt x="3104085" y="1612711"/>
                </a:lnTo>
                <a:cubicBezTo>
                  <a:pt x="3104012" y="1614660"/>
                  <a:pt x="3103920" y="1616627"/>
                  <a:pt x="3103846" y="1618576"/>
                </a:cubicBezTo>
                <a:close/>
                <a:moveTo>
                  <a:pt x="1269" y="1616572"/>
                </a:moveTo>
                <a:cubicBezTo>
                  <a:pt x="1195" y="1614623"/>
                  <a:pt x="1121" y="1612656"/>
                  <a:pt x="1048" y="1610707"/>
                </a:cubicBezTo>
                <a:lnTo>
                  <a:pt x="30004" y="1609641"/>
                </a:lnTo>
                <a:cubicBezTo>
                  <a:pt x="30077" y="1611553"/>
                  <a:pt x="30151" y="1613465"/>
                  <a:pt x="30224" y="1615377"/>
                </a:cubicBezTo>
                <a:lnTo>
                  <a:pt x="1269" y="1616553"/>
                </a:lnTo>
                <a:close/>
                <a:moveTo>
                  <a:pt x="3104581" y="1598058"/>
                </a:moveTo>
                <a:lnTo>
                  <a:pt x="3075626" y="1597194"/>
                </a:lnTo>
                <a:cubicBezTo>
                  <a:pt x="3075681" y="1595282"/>
                  <a:pt x="3075736" y="1593352"/>
                  <a:pt x="3075791" y="1591440"/>
                </a:cubicBezTo>
                <a:lnTo>
                  <a:pt x="3104765" y="1592194"/>
                </a:lnTo>
                <a:cubicBezTo>
                  <a:pt x="3104710" y="1594142"/>
                  <a:pt x="3104655" y="1596110"/>
                  <a:pt x="3104600" y="1598058"/>
                </a:cubicBezTo>
                <a:close/>
                <a:moveTo>
                  <a:pt x="570" y="1596073"/>
                </a:moveTo>
                <a:cubicBezTo>
                  <a:pt x="515" y="1594124"/>
                  <a:pt x="460" y="1592157"/>
                  <a:pt x="423" y="1590208"/>
                </a:cubicBezTo>
                <a:lnTo>
                  <a:pt x="29397" y="1589546"/>
                </a:lnTo>
                <a:cubicBezTo>
                  <a:pt x="29434" y="1591458"/>
                  <a:pt x="29489" y="1593370"/>
                  <a:pt x="29544" y="1595282"/>
                </a:cubicBezTo>
                <a:lnTo>
                  <a:pt x="588" y="1596073"/>
                </a:lnTo>
                <a:close/>
                <a:moveTo>
                  <a:pt x="3105059" y="1577541"/>
                </a:moveTo>
                <a:lnTo>
                  <a:pt x="3076085" y="1577063"/>
                </a:lnTo>
                <a:cubicBezTo>
                  <a:pt x="3076122" y="1575151"/>
                  <a:pt x="3076141" y="1573221"/>
                  <a:pt x="3076177" y="1571309"/>
                </a:cubicBezTo>
                <a:lnTo>
                  <a:pt x="3105152" y="1571695"/>
                </a:lnTo>
                <a:cubicBezTo>
                  <a:pt x="3105133" y="1573644"/>
                  <a:pt x="3105096" y="1575611"/>
                  <a:pt x="3105059" y="1577560"/>
                </a:cubicBezTo>
                <a:close/>
                <a:moveTo>
                  <a:pt x="147" y="1575556"/>
                </a:moveTo>
                <a:cubicBezTo>
                  <a:pt x="129" y="1573607"/>
                  <a:pt x="92" y="1571658"/>
                  <a:pt x="74" y="1569709"/>
                </a:cubicBezTo>
                <a:lnTo>
                  <a:pt x="29048" y="1569415"/>
                </a:lnTo>
                <a:cubicBezTo>
                  <a:pt x="29066" y="1571327"/>
                  <a:pt x="29084" y="1573239"/>
                  <a:pt x="29121" y="1575170"/>
                </a:cubicBezTo>
                <a:lnTo>
                  <a:pt x="147" y="1575574"/>
                </a:lnTo>
                <a:close/>
                <a:moveTo>
                  <a:pt x="3105280" y="1557006"/>
                </a:moveTo>
                <a:lnTo>
                  <a:pt x="3076306" y="1556895"/>
                </a:lnTo>
                <a:cubicBezTo>
                  <a:pt x="3076306" y="1555075"/>
                  <a:pt x="3076306" y="1553255"/>
                  <a:pt x="3076306" y="1551417"/>
                </a:cubicBezTo>
                <a:lnTo>
                  <a:pt x="3076306" y="1551141"/>
                </a:lnTo>
                <a:lnTo>
                  <a:pt x="3105280" y="1551141"/>
                </a:lnTo>
                <a:lnTo>
                  <a:pt x="3105280" y="1551417"/>
                </a:lnTo>
                <a:cubicBezTo>
                  <a:pt x="3105280" y="1553274"/>
                  <a:pt x="3105280" y="1555131"/>
                  <a:pt x="3105280" y="1557006"/>
                </a:cubicBezTo>
                <a:close/>
                <a:moveTo>
                  <a:pt x="28974" y="1555057"/>
                </a:moveTo>
                <a:lnTo>
                  <a:pt x="0" y="1555057"/>
                </a:lnTo>
                <a:lnTo>
                  <a:pt x="0" y="1553862"/>
                </a:lnTo>
                <a:cubicBezTo>
                  <a:pt x="0" y="1552299"/>
                  <a:pt x="0" y="1550755"/>
                  <a:pt x="0" y="1549211"/>
                </a:cubicBezTo>
                <a:lnTo>
                  <a:pt x="28974" y="1549303"/>
                </a:lnTo>
                <a:cubicBezTo>
                  <a:pt x="28974" y="1550810"/>
                  <a:pt x="28974" y="1552336"/>
                  <a:pt x="28974" y="1553844"/>
                </a:cubicBezTo>
                <a:lnTo>
                  <a:pt x="28974" y="1555075"/>
                </a:lnTo>
                <a:close/>
                <a:moveTo>
                  <a:pt x="3076233" y="1536783"/>
                </a:moveTo>
                <a:cubicBezTo>
                  <a:pt x="3076233" y="1534871"/>
                  <a:pt x="3076196" y="1532940"/>
                  <a:pt x="3076159" y="1531028"/>
                </a:cubicBezTo>
                <a:lnTo>
                  <a:pt x="3105133" y="1530642"/>
                </a:lnTo>
                <a:cubicBezTo>
                  <a:pt x="3105152" y="1532591"/>
                  <a:pt x="3105188" y="1534540"/>
                  <a:pt x="3105207" y="1536489"/>
                </a:cubicBezTo>
                <a:lnTo>
                  <a:pt x="3076233" y="1536764"/>
                </a:lnTo>
                <a:close/>
                <a:moveTo>
                  <a:pt x="29084" y="1534908"/>
                </a:moveTo>
                <a:lnTo>
                  <a:pt x="110" y="1534540"/>
                </a:lnTo>
                <a:cubicBezTo>
                  <a:pt x="129" y="1532591"/>
                  <a:pt x="165" y="1530624"/>
                  <a:pt x="202" y="1528675"/>
                </a:cubicBezTo>
                <a:lnTo>
                  <a:pt x="29176" y="1529153"/>
                </a:lnTo>
                <a:cubicBezTo>
                  <a:pt x="29140" y="1531065"/>
                  <a:pt x="29121" y="1532995"/>
                  <a:pt x="29103" y="1534908"/>
                </a:cubicBezTo>
                <a:close/>
                <a:moveTo>
                  <a:pt x="3075902" y="1516670"/>
                </a:moveTo>
                <a:cubicBezTo>
                  <a:pt x="3075865" y="1514758"/>
                  <a:pt x="3075810" y="1512846"/>
                  <a:pt x="3075755" y="1510934"/>
                </a:cubicBezTo>
                <a:lnTo>
                  <a:pt x="3104710" y="1510143"/>
                </a:lnTo>
                <a:cubicBezTo>
                  <a:pt x="3104765" y="1512092"/>
                  <a:pt x="3104820" y="1514059"/>
                  <a:pt x="3104857" y="1516008"/>
                </a:cubicBezTo>
                <a:lnTo>
                  <a:pt x="3075883" y="1516670"/>
                </a:lnTo>
                <a:close/>
                <a:moveTo>
                  <a:pt x="29470" y="1514758"/>
                </a:moveTo>
                <a:lnTo>
                  <a:pt x="496" y="1514023"/>
                </a:lnTo>
                <a:cubicBezTo>
                  <a:pt x="552" y="1512074"/>
                  <a:pt x="607" y="1510107"/>
                  <a:pt x="662" y="1508158"/>
                </a:cubicBezTo>
                <a:lnTo>
                  <a:pt x="29618" y="1509022"/>
                </a:lnTo>
                <a:cubicBezTo>
                  <a:pt x="29562" y="1510934"/>
                  <a:pt x="29507" y="1512864"/>
                  <a:pt x="29452" y="1514776"/>
                </a:cubicBezTo>
                <a:close/>
                <a:moveTo>
                  <a:pt x="3075313" y="1496557"/>
                </a:moveTo>
                <a:cubicBezTo>
                  <a:pt x="3075240" y="1494645"/>
                  <a:pt x="3075166" y="1492733"/>
                  <a:pt x="3075093" y="1490821"/>
                </a:cubicBezTo>
                <a:lnTo>
                  <a:pt x="3104048" y="1489663"/>
                </a:lnTo>
                <a:cubicBezTo>
                  <a:pt x="3104122" y="1491612"/>
                  <a:pt x="3104195" y="1493579"/>
                  <a:pt x="3104269" y="1495528"/>
                </a:cubicBezTo>
                <a:lnTo>
                  <a:pt x="3075313" y="1496557"/>
                </a:lnTo>
                <a:close/>
                <a:moveTo>
                  <a:pt x="30132" y="1494645"/>
                </a:moveTo>
                <a:lnTo>
                  <a:pt x="1177" y="1493506"/>
                </a:lnTo>
                <a:cubicBezTo>
                  <a:pt x="1250" y="1491557"/>
                  <a:pt x="1342" y="1489608"/>
                  <a:pt x="1416" y="1487641"/>
                </a:cubicBezTo>
                <a:lnTo>
                  <a:pt x="30371" y="1488873"/>
                </a:lnTo>
                <a:cubicBezTo>
                  <a:pt x="30298" y="1490785"/>
                  <a:pt x="30206" y="1492715"/>
                  <a:pt x="30132" y="1494627"/>
                </a:cubicBezTo>
                <a:close/>
                <a:moveTo>
                  <a:pt x="3074449" y="1476463"/>
                </a:moveTo>
                <a:cubicBezTo>
                  <a:pt x="3074357" y="1474551"/>
                  <a:pt x="3074247" y="1472639"/>
                  <a:pt x="3074155" y="1470709"/>
                </a:cubicBezTo>
                <a:lnTo>
                  <a:pt x="3103092" y="1469164"/>
                </a:lnTo>
                <a:cubicBezTo>
                  <a:pt x="3103203" y="1471113"/>
                  <a:pt x="3103295" y="1473062"/>
                  <a:pt x="3103387" y="1475011"/>
                </a:cubicBezTo>
                <a:lnTo>
                  <a:pt x="3074449" y="1476445"/>
                </a:lnTo>
                <a:close/>
                <a:moveTo>
                  <a:pt x="31052" y="1474514"/>
                </a:moveTo>
                <a:lnTo>
                  <a:pt x="2114" y="1473007"/>
                </a:lnTo>
                <a:cubicBezTo>
                  <a:pt x="2225" y="1471058"/>
                  <a:pt x="2316" y="1469109"/>
                  <a:pt x="2427" y="1467160"/>
                </a:cubicBezTo>
                <a:lnTo>
                  <a:pt x="31364" y="1468778"/>
                </a:lnTo>
                <a:cubicBezTo>
                  <a:pt x="31254" y="1470690"/>
                  <a:pt x="31162" y="1472602"/>
                  <a:pt x="31052" y="1474533"/>
                </a:cubicBezTo>
                <a:close/>
                <a:moveTo>
                  <a:pt x="3073328" y="1456350"/>
                </a:moveTo>
                <a:cubicBezTo>
                  <a:pt x="3073199" y="1454438"/>
                  <a:pt x="3073089" y="1452526"/>
                  <a:pt x="3072960" y="1450614"/>
                </a:cubicBezTo>
                <a:lnTo>
                  <a:pt x="3101861" y="1448684"/>
                </a:lnTo>
                <a:cubicBezTo>
                  <a:pt x="3101989" y="1450633"/>
                  <a:pt x="3102118" y="1452581"/>
                  <a:pt x="3102247" y="1454530"/>
                </a:cubicBezTo>
                <a:lnTo>
                  <a:pt x="3073328" y="1456350"/>
                </a:lnTo>
                <a:close/>
                <a:moveTo>
                  <a:pt x="32228" y="1454420"/>
                </a:moveTo>
                <a:lnTo>
                  <a:pt x="3309" y="1452526"/>
                </a:lnTo>
                <a:cubicBezTo>
                  <a:pt x="3438" y="1450578"/>
                  <a:pt x="3567" y="1448629"/>
                  <a:pt x="3695" y="1446680"/>
                </a:cubicBezTo>
                <a:lnTo>
                  <a:pt x="32596" y="1448684"/>
                </a:lnTo>
                <a:cubicBezTo>
                  <a:pt x="32467" y="1450596"/>
                  <a:pt x="32338" y="1452508"/>
                  <a:pt x="32210" y="1454420"/>
                </a:cubicBezTo>
                <a:close/>
                <a:moveTo>
                  <a:pt x="3071930" y="1436274"/>
                </a:moveTo>
                <a:cubicBezTo>
                  <a:pt x="3071783" y="1434362"/>
                  <a:pt x="3071636" y="1432450"/>
                  <a:pt x="3071489" y="1430538"/>
                </a:cubicBezTo>
                <a:lnTo>
                  <a:pt x="3100372" y="1428222"/>
                </a:lnTo>
                <a:cubicBezTo>
                  <a:pt x="3100519" y="1430171"/>
                  <a:pt x="3100684" y="1432119"/>
                  <a:pt x="3100831" y="1434068"/>
                </a:cubicBezTo>
                <a:lnTo>
                  <a:pt x="3071949" y="1436274"/>
                </a:lnTo>
                <a:close/>
                <a:moveTo>
                  <a:pt x="33681" y="1434326"/>
                </a:moveTo>
                <a:lnTo>
                  <a:pt x="4798" y="1432046"/>
                </a:lnTo>
                <a:cubicBezTo>
                  <a:pt x="4945" y="1430097"/>
                  <a:pt x="5111" y="1428148"/>
                  <a:pt x="5276" y="1426200"/>
                </a:cubicBezTo>
                <a:lnTo>
                  <a:pt x="34159" y="1428590"/>
                </a:lnTo>
                <a:cubicBezTo>
                  <a:pt x="33993" y="1430502"/>
                  <a:pt x="33846" y="1432414"/>
                  <a:pt x="33699" y="1434326"/>
                </a:cubicBezTo>
                <a:close/>
                <a:moveTo>
                  <a:pt x="3070258" y="1416217"/>
                </a:moveTo>
                <a:cubicBezTo>
                  <a:pt x="3070092" y="1414305"/>
                  <a:pt x="3069908" y="1412393"/>
                  <a:pt x="3069724" y="1410481"/>
                </a:cubicBezTo>
                <a:lnTo>
                  <a:pt x="3098570" y="1407797"/>
                </a:lnTo>
                <a:cubicBezTo>
                  <a:pt x="3098754" y="1409746"/>
                  <a:pt x="3098938" y="1411694"/>
                  <a:pt x="3099103" y="1413625"/>
                </a:cubicBezTo>
                <a:lnTo>
                  <a:pt x="3070239" y="1416217"/>
                </a:lnTo>
                <a:close/>
                <a:moveTo>
                  <a:pt x="35390" y="1414268"/>
                </a:moveTo>
                <a:lnTo>
                  <a:pt x="6545" y="1411602"/>
                </a:lnTo>
                <a:cubicBezTo>
                  <a:pt x="6729" y="1409654"/>
                  <a:pt x="6913" y="1407705"/>
                  <a:pt x="7096" y="1405756"/>
                </a:cubicBezTo>
                <a:lnTo>
                  <a:pt x="35942" y="1408532"/>
                </a:lnTo>
                <a:cubicBezTo>
                  <a:pt x="35758" y="1410444"/>
                  <a:pt x="35574" y="1412356"/>
                  <a:pt x="35409" y="1414250"/>
                </a:cubicBezTo>
                <a:close/>
                <a:moveTo>
                  <a:pt x="3068327" y="1396178"/>
                </a:moveTo>
                <a:cubicBezTo>
                  <a:pt x="3068125" y="1394266"/>
                  <a:pt x="3067923" y="1392372"/>
                  <a:pt x="3067721" y="1390460"/>
                </a:cubicBezTo>
                <a:lnTo>
                  <a:pt x="3096529" y="1387390"/>
                </a:lnTo>
                <a:cubicBezTo>
                  <a:pt x="3096731" y="1389339"/>
                  <a:pt x="3096934" y="1391269"/>
                  <a:pt x="3097136" y="1393218"/>
                </a:cubicBezTo>
                <a:lnTo>
                  <a:pt x="3068309" y="1396178"/>
                </a:lnTo>
                <a:close/>
                <a:moveTo>
                  <a:pt x="37376" y="1394229"/>
                </a:moveTo>
                <a:lnTo>
                  <a:pt x="8567" y="1391195"/>
                </a:lnTo>
                <a:cubicBezTo>
                  <a:pt x="8769" y="1389247"/>
                  <a:pt x="8972" y="1387316"/>
                  <a:pt x="9192" y="1385368"/>
                </a:cubicBezTo>
                <a:lnTo>
                  <a:pt x="38001" y="1388511"/>
                </a:lnTo>
                <a:cubicBezTo>
                  <a:pt x="37799" y="1390423"/>
                  <a:pt x="37578" y="1392317"/>
                  <a:pt x="37394" y="1394229"/>
                </a:cubicBezTo>
                <a:close/>
                <a:moveTo>
                  <a:pt x="3066140" y="1376175"/>
                </a:moveTo>
                <a:cubicBezTo>
                  <a:pt x="3065919" y="1374282"/>
                  <a:pt x="3065698" y="1372370"/>
                  <a:pt x="3065459" y="1370476"/>
                </a:cubicBezTo>
                <a:lnTo>
                  <a:pt x="3094231" y="1367001"/>
                </a:lnTo>
                <a:cubicBezTo>
                  <a:pt x="3094470" y="1368950"/>
                  <a:pt x="3094691" y="1370881"/>
                  <a:pt x="3094930" y="1372829"/>
                </a:cubicBezTo>
                <a:lnTo>
                  <a:pt x="3066158" y="1376175"/>
                </a:lnTo>
                <a:close/>
                <a:moveTo>
                  <a:pt x="39619" y="1374227"/>
                </a:moveTo>
                <a:lnTo>
                  <a:pt x="10847" y="1370807"/>
                </a:lnTo>
                <a:cubicBezTo>
                  <a:pt x="11086" y="1368877"/>
                  <a:pt x="11307" y="1366928"/>
                  <a:pt x="11545" y="1364997"/>
                </a:cubicBezTo>
                <a:lnTo>
                  <a:pt x="40299" y="1368527"/>
                </a:lnTo>
                <a:cubicBezTo>
                  <a:pt x="40060" y="1370439"/>
                  <a:pt x="39839" y="1372333"/>
                  <a:pt x="39600" y="1374245"/>
                </a:cubicBezTo>
                <a:close/>
                <a:moveTo>
                  <a:pt x="3063676" y="1356191"/>
                </a:moveTo>
                <a:cubicBezTo>
                  <a:pt x="3063437" y="1354298"/>
                  <a:pt x="3063180" y="1352386"/>
                  <a:pt x="3062922" y="1350492"/>
                </a:cubicBezTo>
                <a:lnTo>
                  <a:pt x="3091639" y="1346631"/>
                </a:lnTo>
                <a:cubicBezTo>
                  <a:pt x="3091896" y="1348562"/>
                  <a:pt x="3092153" y="1350511"/>
                  <a:pt x="3092411" y="1352459"/>
                </a:cubicBezTo>
                <a:lnTo>
                  <a:pt x="3063676" y="1356191"/>
                </a:lnTo>
                <a:close/>
                <a:moveTo>
                  <a:pt x="42119" y="1354261"/>
                </a:moveTo>
                <a:lnTo>
                  <a:pt x="13402" y="1350455"/>
                </a:lnTo>
                <a:cubicBezTo>
                  <a:pt x="13660" y="1348525"/>
                  <a:pt x="13917" y="1346595"/>
                  <a:pt x="14175" y="1344646"/>
                </a:cubicBezTo>
                <a:lnTo>
                  <a:pt x="42891" y="1348543"/>
                </a:lnTo>
                <a:cubicBezTo>
                  <a:pt x="42634" y="1350437"/>
                  <a:pt x="42376" y="1352349"/>
                  <a:pt x="42119" y="1354243"/>
                </a:cubicBezTo>
                <a:close/>
                <a:moveTo>
                  <a:pt x="3060955" y="1336263"/>
                </a:moveTo>
                <a:cubicBezTo>
                  <a:pt x="3060679" y="1334369"/>
                  <a:pt x="3060404" y="1332475"/>
                  <a:pt x="3060128" y="1330582"/>
                </a:cubicBezTo>
                <a:lnTo>
                  <a:pt x="3088789" y="1326353"/>
                </a:lnTo>
                <a:cubicBezTo>
                  <a:pt x="3089083" y="1328284"/>
                  <a:pt x="3089359" y="1330232"/>
                  <a:pt x="3089635" y="1332163"/>
                </a:cubicBezTo>
                <a:lnTo>
                  <a:pt x="3060955" y="1336263"/>
                </a:lnTo>
                <a:close/>
                <a:moveTo>
                  <a:pt x="44895" y="1334314"/>
                </a:moveTo>
                <a:lnTo>
                  <a:pt x="16215" y="1330140"/>
                </a:lnTo>
                <a:cubicBezTo>
                  <a:pt x="16491" y="1328210"/>
                  <a:pt x="16785" y="1326280"/>
                  <a:pt x="17061" y="1324349"/>
                </a:cubicBezTo>
                <a:lnTo>
                  <a:pt x="45722" y="1328633"/>
                </a:lnTo>
                <a:cubicBezTo>
                  <a:pt x="45447" y="1330526"/>
                  <a:pt x="45152" y="1332420"/>
                  <a:pt x="44877" y="1334332"/>
                </a:cubicBezTo>
                <a:close/>
                <a:moveTo>
                  <a:pt x="3057958" y="1316352"/>
                </a:moveTo>
                <a:cubicBezTo>
                  <a:pt x="3057664" y="1314458"/>
                  <a:pt x="3057352" y="1312565"/>
                  <a:pt x="3057057" y="1310671"/>
                </a:cubicBezTo>
                <a:lnTo>
                  <a:pt x="3085664" y="1306057"/>
                </a:lnTo>
                <a:cubicBezTo>
                  <a:pt x="3085976" y="1307987"/>
                  <a:pt x="3086289" y="1309917"/>
                  <a:pt x="3086583" y="1311848"/>
                </a:cubicBezTo>
                <a:lnTo>
                  <a:pt x="3057958" y="1316334"/>
                </a:lnTo>
                <a:close/>
                <a:moveTo>
                  <a:pt x="47929" y="1314422"/>
                </a:moveTo>
                <a:lnTo>
                  <a:pt x="19322" y="1309862"/>
                </a:lnTo>
                <a:cubicBezTo>
                  <a:pt x="19635" y="1307932"/>
                  <a:pt x="19947" y="1306002"/>
                  <a:pt x="20260" y="1304071"/>
                </a:cubicBezTo>
                <a:lnTo>
                  <a:pt x="48848" y="1308741"/>
                </a:lnTo>
                <a:cubicBezTo>
                  <a:pt x="48535" y="1310634"/>
                  <a:pt x="48241" y="1312528"/>
                  <a:pt x="47929" y="1314422"/>
                </a:cubicBezTo>
                <a:close/>
                <a:moveTo>
                  <a:pt x="3054686" y="1296478"/>
                </a:moveTo>
                <a:cubicBezTo>
                  <a:pt x="3054355" y="1294585"/>
                  <a:pt x="3054042" y="1292710"/>
                  <a:pt x="3053712" y="1290816"/>
                </a:cubicBezTo>
                <a:lnTo>
                  <a:pt x="3082244" y="1285815"/>
                </a:lnTo>
                <a:cubicBezTo>
                  <a:pt x="3082575" y="1287746"/>
                  <a:pt x="3082925" y="1289676"/>
                  <a:pt x="3083237" y="1291606"/>
                </a:cubicBezTo>
                <a:lnTo>
                  <a:pt x="3054668" y="1296478"/>
                </a:lnTo>
                <a:close/>
                <a:moveTo>
                  <a:pt x="51219" y="1294566"/>
                </a:moveTo>
                <a:lnTo>
                  <a:pt x="22668" y="1289621"/>
                </a:lnTo>
                <a:cubicBezTo>
                  <a:pt x="22999" y="1287690"/>
                  <a:pt x="23330" y="1285779"/>
                  <a:pt x="23679" y="1283848"/>
                </a:cubicBezTo>
                <a:lnTo>
                  <a:pt x="52212" y="1288886"/>
                </a:lnTo>
                <a:cubicBezTo>
                  <a:pt x="51881" y="1290779"/>
                  <a:pt x="51550" y="1292673"/>
                  <a:pt x="51219" y="1294548"/>
                </a:cubicBezTo>
                <a:close/>
                <a:moveTo>
                  <a:pt x="3051174" y="1276660"/>
                </a:moveTo>
                <a:cubicBezTo>
                  <a:pt x="3050825" y="1274785"/>
                  <a:pt x="3050476" y="1272891"/>
                  <a:pt x="3050126" y="1271016"/>
                </a:cubicBezTo>
                <a:lnTo>
                  <a:pt x="3078604" y="1265647"/>
                </a:lnTo>
                <a:cubicBezTo>
                  <a:pt x="3078972" y="1267578"/>
                  <a:pt x="3079321" y="1269490"/>
                  <a:pt x="3079689" y="1271420"/>
                </a:cubicBezTo>
                <a:lnTo>
                  <a:pt x="3051193" y="1276678"/>
                </a:lnTo>
                <a:close/>
                <a:moveTo>
                  <a:pt x="54786" y="1274766"/>
                </a:moveTo>
                <a:lnTo>
                  <a:pt x="26308" y="1269453"/>
                </a:lnTo>
                <a:cubicBezTo>
                  <a:pt x="26658" y="1267541"/>
                  <a:pt x="27025" y="1265611"/>
                  <a:pt x="27393" y="1263699"/>
                </a:cubicBezTo>
                <a:lnTo>
                  <a:pt x="55852" y="1269104"/>
                </a:lnTo>
                <a:cubicBezTo>
                  <a:pt x="55503" y="1270979"/>
                  <a:pt x="55135" y="1272873"/>
                  <a:pt x="54786" y="1274748"/>
                </a:cubicBezTo>
                <a:close/>
                <a:moveTo>
                  <a:pt x="3047387" y="1256896"/>
                </a:moveTo>
                <a:cubicBezTo>
                  <a:pt x="3047020" y="1255021"/>
                  <a:pt x="3046634" y="1253146"/>
                  <a:pt x="3046266" y="1251271"/>
                </a:cubicBezTo>
                <a:lnTo>
                  <a:pt x="3074670" y="1245516"/>
                </a:lnTo>
                <a:cubicBezTo>
                  <a:pt x="3075056" y="1247428"/>
                  <a:pt x="3075442" y="1249359"/>
                  <a:pt x="3075828" y="1251271"/>
                </a:cubicBezTo>
                <a:lnTo>
                  <a:pt x="3047406" y="1256896"/>
                </a:lnTo>
                <a:close/>
                <a:moveTo>
                  <a:pt x="58592" y="1255003"/>
                </a:moveTo>
                <a:lnTo>
                  <a:pt x="30169" y="1249322"/>
                </a:lnTo>
                <a:cubicBezTo>
                  <a:pt x="30555" y="1247410"/>
                  <a:pt x="30941" y="1245480"/>
                  <a:pt x="31327" y="1243568"/>
                </a:cubicBezTo>
                <a:lnTo>
                  <a:pt x="59713" y="1249359"/>
                </a:lnTo>
                <a:cubicBezTo>
                  <a:pt x="59327" y="1251234"/>
                  <a:pt x="58959" y="1253109"/>
                  <a:pt x="58573" y="1254984"/>
                </a:cubicBezTo>
                <a:close/>
                <a:moveTo>
                  <a:pt x="3043324" y="1237170"/>
                </a:moveTo>
                <a:cubicBezTo>
                  <a:pt x="3042920" y="1235295"/>
                  <a:pt x="3042515" y="1233419"/>
                  <a:pt x="3042111" y="1231544"/>
                </a:cubicBezTo>
                <a:lnTo>
                  <a:pt x="3070423" y="1225422"/>
                </a:lnTo>
                <a:cubicBezTo>
                  <a:pt x="3070827" y="1227334"/>
                  <a:pt x="3071250" y="1229246"/>
                  <a:pt x="3071655" y="1231158"/>
                </a:cubicBezTo>
                <a:lnTo>
                  <a:pt x="3043306" y="1237170"/>
                </a:lnTo>
                <a:close/>
                <a:moveTo>
                  <a:pt x="62673" y="1235313"/>
                </a:moveTo>
                <a:lnTo>
                  <a:pt x="34342" y="1229264"/>
                </a:lnTo>
                <a:cubicBezTo>
                  <a:pt x="34747" y="1227352"/>
                  <a:pt x="35170" y="1225440"/>
                  <a:pt x="35574" y="1223528"/>
                </a:cubicBezTo>
                <a:lnTo>
                  <a:pt x="63886" y="1229687"/>
                </a:lnTo>
                <a:cubicBezTo>
                  <a:pt x="63482" y="1231563"/>
                  <a:pt x="63077" y="1233438"/>
                  <a:pt x="62673" y="1235295"/>
                </a:cubicBezTo>
                <a:close/>
                <a:moveTo>
                  <a:pt x="3039022" y="1217498"/>
                </a:moveTo>
                <a:cubicBezTo>
                  <a:pt x="3038600" y="1215623"/>
                  <a:pt x="3038176" y="1213748"/>
                  <a:pt x="3037735" y="1211891"/>
                </a:cubicBezTo>
                <a:lnTo>
                  <a:pt x="3065974" y="1205401"/>
                </a:lnTo>
                <a:cubicBezTo>
                  <a:pt x="3066415" y="1207313"/>
                  <a:pt x="3066857" y="1209207"/>
                  <a:pt x="3067279" y="1211119"/>
                </a:cubicBezTo>
                <a:lnTo>
                  <a:pt x="3039022" y="1217517"/>
                </a:lnTo>
                <a:close/>
                <a:moveTo>
                  <a:pt x="67012" y="1215660"/>
                </a:moveTo>
                <a:lnTo>
                  <a:pt x="38755" y="1209244"/>
                </a:lnTo>
                <a:cubicBezTo>
                  <a:pt x="39196" y="1207332"/>
                  <a:pt x="39619" y="1205438"/>
                  <a:pt x="40060" y="1203526"/>
                </a:cubicBezTo>
                <a:lnTo>
                  <a:pt x="68280" y="1210071"/>
                </a:lnTo>
                <a:cubicBezTo>
                  <a:pt x="67839" y="1211928"/>
                  <a:pt x="67416" y="1213803"/>
                  <a:pt x="66993" y="1215660"/>
                </a:cubicBezTo>
                <a:close/>
                <a:moveTo>
                  <a:pt x="3034445" y="1197882"/>
                </a:moveTo>
                <a:cubicBezTo>
                  <a:pt x="3034003" y="1196025"/>
                  <a:pt x="3033544" y="1194150"/>
                  <a:pt x="3033084" y="1192293"/>
                </a:cubicBezTo>
                <a:lnTo>
                  <a:pt x="3061231" y="1185417"/>
                </a:lnTo>
                <a:cubicBezTo>
                  <a:pt x="3061690" y="1187311"/>
                  <a:pt x="3062150" y="1189223"/>
                  <a:pt x="3062610" y="1191117"/>
                </a:cubicBezTo>
                <a:lnTo>
                  <a:pt x="3034445" y="1197882"/>
                </a:lnTo>
                <a:close/>
                <a:moveTo>
                  <a:pt x="71589" y="1196062"/>
                </a:moveTo>
                <a:lnTo>
                  <a:pt x="43424" y="1189278"/>
                </a:lnTo>
                <a:cubicBezTo>
                  <a:pt x="43884" y="1187384"/>
                  <a:pt x="44344" y="1185472"/>
                  <a:pt x="44803" y="1183579"/>
                </a:cubicBezTo>
                <a:lnTo>
                  <a:pt x="72950" y="1190491"/>
                </a:lnTo>
                <a:cubicBezTo>
                  <a:pt x="72490" y="1192348"/>
                  <a:pt x="72049" y="1194205"/>
                  <a:pt x="71589" y="1196062"/>
                </a:cubicBezTo>
                <a:close/>
                <a:moveTo>
                  <a:pt x="3029609" y="1178339"/>
                </a:moveTo>
                <a:cubicBezTo>
                  <a:pt x="3029131" y="1176482"/>
                  <a:pt x="3028672" y="1174626"/>
                  <a:pt x="3028175" y="1172769"/>
                </a:cubicBezTo>
                <a:lnTo>
                  <a:pt x="3056230" y="1165507"/>
                </a:lnTo>
                <a:cubicBezTo>
                  <a:pt x="3056727" y="1167400"/>
                  <a:pt x="3057205" y="1169294"/>
                  <a:pt x="3057682" y="1171188"/>
                </a:cubicBezTo>
                <a:lnTo>
                  <a:pt x="3029591" y="1178321"/>
                </a:lnTo>
                <a:close/>
                <a:moveTo>
                  <a:pt x="76443" y="1176538"/>
                </a:moveTo>
                <a:lnTo>
                  <a:pt x="48370" y="1169368"/>
                </a:lnTo>
                <a:cubicBezTo>
                  <a:pt x="48848" y="1167474"/>
                  <a:pt x="49344" y="1165580"/>
                  <a:pt x="49822" y="1163687"/>
                </a:cubicBezTo>
                <a:lnTo>
                  <a:pt x="77877" y="1170967"/>
                </a:lnTo>
                <a:cubicBezTo>
                  <a:pt x="77399" y="1172824"/>
                  <a:pt x="76921" y="1174681"/>
                  <a:pt x="76443" y="1176538"/>
                </a:cubicBezTo>
                <a:close/>
                <a:moveTo>
                  <a:pt x="3024517" y="1158852"/>
                </a:moveTo>
                <a:cubicBezTo>
                  <a:pt x="3024020" y="1156995"/>
                  <a:pt x="3023524" y="1155138"/>
                  <a:pt x="3023009" y="1153299"/>
                </a:cubicBezTo>
                <a:lnTo>
                  <a:pt x="3050972" y="1145688"/>
                </a:lnTo>
                <a:cubicBezTo>
                  <a:pt x="3051487" y="1147582"/>
                  <a:pt x="3052002" y="1149457"/>
                  <a:pt x="3052498" y="1151351"/>
                </a:cubicBezTo>
                <a:lnTo>
                  <a:pt x="3024517" y="1158870"/>
                </a:lnTo>
                <a:close/>
                <a:moveTo>
                  <a:pt x="81536" y="1157087"/>
                </a:moveTo>
                <a:lnTo>
                  <a:pt x="53554" y="1149549"/>
                </a:lnTo>
                <a:cubicBezTo>
                  <a:pt x="54069" y="1147674"/>
                  <a:pt x="54565" y="1145780"/>
                  <a:pt x="55080" y="1143905"/>
                </a:cubicBezTo>
                <a:lnTo>
                  <a:pt x="83025" y="1151535"/>
                </a:lnTo>
                <a:cubicBezTo>
                  <a:pt x="82528" y="1153391"/>
                  <a:pt x="82014" y="1155230"/>
                  <a:pt x="81517" y="1157087"/>
                </a:cubicBezTo>
                <a:close/>
                <a:moveTo>
                  <a:pt x="3019148" y="1139438"/>
                </a:moveTo>
                <a:cubicBezTo>
                  <a:pt x="3018634" y="1137599"/>
                  <a:pt x="3018101" y="1135742"/>
                  <a:pt x="3017567" y="1133904"/>
                </a:cubicBezTo>
                <a:lnTo>
                  <a:pt x="3045420" y="1125906"/>
                </a:lnTo>
                <a:cubicBezTo>
                  <a:pt x="3045953" y="1127782"/>
                  <a:pt x="3046505" y="1129675"/>
                  <a:pt x="3047020" y="1131551"/>
                </a:cubicBezTo>
                <a:lnTo>
                  <a:pt x="3019148" y="1139438"/>
                </a:lnTo>
                <a:close/>
                <a:moveTo>
                  <a:pt x="86904" y="1137709"/>
                </a:moveTo>
                <a:lnTo>
                  <a:pt x="59033" y="1129804"/>
                </a:lnTo>
                <a:cubicBezTo>
                  <a:pt x="59566" y="1127929"/>
                  <a:pt x="60099" y="1126054"/>
                  <a:pt x="60651" y="1124178"/>
                </a:cubicBezTo>
                <a:lnTo>
                  <a:pt x="88503" y="1132194"/>
                </a:lnTo>
                <a:cubicBezTo>
                  <a:pt x="87970" y="1134033"/>
                  <a:pt x="87455" y="1135871"/>
                  <a:pt x="86922" y="1137709"/>
                </a:cubicBezTo>
                <a:close/>
                <a:moveTo>
                  <a:pt x="3013541" y="1120097"/>
                </a:moveTo>
                <a:cubicBezTo>
                  <a:pt x="3012990" y="1118259"/>
                  <a:pt x="3012438" y="1116420"/>
                  <a:pt x="3011887" y="1114582"/>
                </a:cubicBezTo>
                <a:lnTo>
                  <a:pt x="3039629" y="1106235"/>
                </a:lnTo>
                <a:cubicBezTo>
                  <a:pt x="3040199" y="1108110"/>
                  <a:pt x="3040750" y="1109985"/>
                  <a:pt x="3041320" y="1111861"/>
                </a:cubicBezTo>
                <a:lnTo>
                  <a:pt x="3013541" y="1120115"/>
                </a:lnTo>
                <a:close/>
                <a:moveTo>
                  <a:pt x="92511" y="1118387"/>
                </a:moveTo>
                <a:lnTo>
                  <a:pt x="64750" y="1110114"/>
                </a:lnTo>
                <a:cubicBezTo>
                  <a:pt x="65302" y="1108239"/>
                  <a:pt x="65872" y="1106382"/>
                  <a:pt x="66423" y="1104507"/>
                </a:cubicBezTo>
                <a:lnTo>
                  <a:pt x="94166" y="1112872"/>
                </a:lnTo>
                <a:cubicBezTo>
                  <a:pt x="93614" y="1114710"/>
                  <a:pt x="93063" y="1116549"/>
                  <a:pt x="92511" y="1118387"/>
                </a:cubicBezTo>
                <a:close/>
                <a:moveTo>
                  <a:pt x="3007677" y="1100830"/>
                </a:moveTo>
                <a:cubicBezTo>
                  <a:pt x="3007107" y="1099010"/>
                  <a:pt x="3006537" y="1097171"/>
                  <a:pt x="3005949" y="1095351"/>
                </a:cubicBezTo>
                <a:lnTo>
                  <a:pt x="3033580" y="1086619"/>
                </a:lnTo>
                <a:cubicBezTo>
                  <a:pt x="3034169" y="1088494"/>
                  <a:pt x="3034757" y="1090351"/>
                  <a:pt x="3035345" y="1092226"/>
                </a:cubicBezTo>
                <a:lnTo>
                  <a:pt x="3007677" y="1100848"/>
                </a:lnTo>
                <a:close/>
                <a:moveTo>
                  <a:pt x="98376" y="1099157"/>
                </a:moveTo>
                <a:lnTo>
                  <a:pt x="70707" y="1090535"/>
                </a:lnTo>
                <a:cubicBezTo>
                  <a:pt x="71295" y="1088678"/>
                  <a:pt x="71865" y="1086803"/>
                  <a:pt x="72454" y="1084946"/>
                </a:cubicBezTo>
                <a:lnTo>
                  <a:pt x="100086" y="1093678"/>
                </a:lnTo>
                <a:cubicBezTo>
                  <a:pt x="99516" y="1095498"/>
                  <a:pt x="98927" y="1097337"/>
                  <a:pt x="98357" y="1099157"/>
                </a:cubicBezTo>
                <a:close/>
                <a:moveTo>
                  <a:pt x="3001555" y="1081637"/>
                </a:moveTo>
                <a:cubicBezTo>
                  <a:pt x="3000966" y="1079816"/>
                  <a:pt x="3000360" y="1077996"/>
                  <a:pt x="2999753" y="1076158"/>
                </a:cubicBezTo>
                <a:lnTo>
                  <a:pt x="3027256" y="1067058"/>
                </a:lnTo>
                <a:cubicBezTo>
                  <a:pt x="3027863" y="1068914"/>
                  <a:pt x="3028488" y="1070771"/>
                  <a:pt x="3029095" y="1072628"/>
                </a:cubicBezTo>
                <a:lnTo>
                  <a:pt x="3001555" y="1081618"/>
                </a:lnTo>
                <a:close/>
                <a:moveTo>
                  <a:pt x="104479" y="1080000"/>
                </a:moveTo>
                <a:lnTo>
                  <a:pt x="76939" y="1071010"/>
                </a:lnTo>
                <a:cubicBezTo>
                  <a:pt x="77546" y="1069153"/>
                  <a:pt x="78153" y="1067297"/>
                  <a:pt x="78759" y="1065440"/>
                </a:cubicBezTo>
                <a:lnTo>
                  <a:pt x="106263" y="1074540"/>
                </a:lnTo>
                <a:cubicBezTo>
                  <a:pt x="105656" y="1076360"/>
                  <a:pt x="105068" y="1078180"/>
                  <a:pt x="104461" y="1080000"/>
                </a:cubicBezTo>
                <a:close/>
                <a:moveTo>
                  <a:pt x="2995175" y="1062535"/>
                </a:moveTo>
                <a:cubicBezTo>
                  <a:pt x="2994550" y="1060715"/>
                  <a:pt x="2993925" y="1058895"/>
                  <a:pt x="2993300" y="1057093"/>
                </a:cubicBezTo>
                <a:lnTo>
                  <a:pt x="3020693" y="1047643"/>
                </a:lnTo>
                <a:cubicBezTo>
                  <a:pt x="3021336" y="1049500"/>
                  <a:pt x="3021961" y="1051339"/>
                  <a:pt x="3022605" y="1053196"/>
                </a:cubicBezTo>
                <a:lnTo>
                  <a:pt x="2995175" y="1062553"/>
                </a:lnTo>
                <a:close/>
                <a:moveTo>
                  <a:pt x="110859" y="1060917"/>
                </a:moveTo>
                <a:lnTo>
                  <a:pt x="83429" y="1051559"/>
                </a:lnTo>
                <a:cubicBezTo>
                  <a:pt x="84054" y="1049721"/>
                  <a:pt x="84698" y="1047864"/>
                  <a:pt x="85323" y="1046026"/>
                </a:cubicBezTo>
                <a:lnTo>
                  <a:pt x="112716" y="1055475"/>
                </a:lnTo>
                <a:cubicBezTo>
                  <a:pt x="112091" y="1057277"/>
                  <a:pt x="111466" y="1059097"/>
                  <a:pt x="110859" y="1060917"/>
                </a:cubicBezTo>
                <a:close/>
                <a:moveTo>
                  <a:pt x="2988538" y="1043507"/>
                </a:moveTo>
                <a:cubicBezTo>
                  <a:pt x="2987895" y="1041705"/>
                  <a:pt x="2987251" y="1039885"/>
                  <a:pt x="2986590" y="1038084"/>
                </a:cubicBezTo>
                <a:lnTo>
                  <a:pt x="3013854" y="1028266"/>
                </a:lnTo>
                <a:cubicBezTo>
                  <a:pt x="3014516" y="1030105"/>
                  <a:pt x="3015177" y="1031943"/>
                  <a:pt x="3015821" y="1033781"/>
                </a:cubicBezTo>
                <a:lnTo>
                  <a:pt x="2988520" y="1043489"/>
                </a:lnTo>
                <a:close/>
                <a:moveTo>
                  <a:pt x="117459" y="1041944"/>
                </a:moveTo>
                <a:lnTo>
                  <a:pt x="90158" y="1032237"/>
                </a:lnTo>
                <a:cubicBezTo>
                  <a:pt x="90801" y="1030399"/>
                  <a:pt x="91463" y="1028560"/>
                  <a:pt x="92125" y="1026740"/>
                </a:cubicBezTo>
                <a:lnTo>
                  <a:pt x="119389" y="1036539"/>
                </a:lnTo>
                <a:cubicBezTo>
                  <a:pt x="118746" y="1038341"/>
                  <a:pt x="118102" y="1040143"/>
                  <a:pt x="117459" y="1041963"/>
                </a:cubicBezTo>
                <a:close/>
                <a:moveTo>
                  <a:pt x="2981644" y="1024571"/>
                </a:moveTo>
                <a:cubicBezTo>
                  <a:pt x="2980982" y="1022769"/>
                  <a:pt x="2980302" y="1020968"/>
                  <a:pt x="2979622" y="1019166"/>
                </a:cubicBezTo>
                <a:lnTo>
                  <a:pt x="3006757" y="1008999"/>
                </a:lnTo>
                <a:cubicBezTo>
                  <a:pt x="3007438" y="1010838"/>
                  <a:pt x="3008136" y="1012658"/>
                  <a:pt x="3008816" y="1014496"/>
                </a:cubicBezTo>
                <a:lnTo>
                  <a:pt x="2981644" y="1024571"/>
                </a:lnTo>
                <a:close/>
                <a:moveTo>
                  <a:pt x="124335" y="1023045"/>
                </a:moveTo>
                <a:lnTo>
                  <a:pt x="97162" y="1012989"/>
                </a:lnTo>
                <a:cubicBezTo>
                  <a:pt x="97843" y="1011150"/>
                  <a:pt x="98523" y="1009330"/>
                  <a:pt x="99203" y="1007510"/>
                </a:cubicBezTo>
                <a:lnTo>
                  <a:pt x="126339" y="1017677"/>
                </a:lnTo>
                <a:cubicBezTo>
                  <a:pt x="125677" y="1019478"/>
                  <a:pt x="124997" y="1021262"/>
                  <a:pt x="124335" y="1023063"/>
                </a:cubicBezTo>
                <a:close/>
                <a:moveTo>
                  <a:pt x="2974529" y="1005727"/>
                </a:moveTo>
                <a:cubicBezTo>
                  <a:pt x="2973831" y="1003943"/>
                  <a:pt x="2973150" y="1002142"/>
                  <a:pt x="2972452" y="1000358"/>
                </a:cubicBezTo>
                <a:lnTo>
                  <a:pt x="2999440" y="989824"/>
                </a:lnTo>
                <a:cubicBezTo>
                  <a:pt x="3000157" y="991644"/>
                  <a:pt x="3000856" y="993464"/>
                  <a:pt x="3001573" y="995303"/>
                </a:cubicBezTo>
                <a:lnTo>
                  <a:pt x="2974548" y="1005727"/>
                </a:lnTo>
                <a:close/>
                <a:moveTo>
                  <a:pt x="131431" y="1004238"/>
                </a:moveTo>
                <a:lnTo>
                  <a:pt x="104406" y="993814"/>
                </a:lnTo>
                <a:cubicBezTo>
                  <a:pt x="105105" y="991993"/>
                  <a:pt x="105803" y="990173"/>
                  <a:pt x="106520" y="988372"/>
                </a:cubicBezTo>
                <a:lnTo>
                  <a:pt x="133527" y="998888"/>
                </a:lnTo>
                <a:cubicBezTo>
                  <a:pt x="132828" y="1000671"/>
                  <a:pt x="132130" y="1002454"/>
                  <a:pt x="131450" y="1004256"/>
                </a:cubicBezTo>
                <a:close/>
                <a:moveTo>
                  <a:pt x="2967139" y="986974"/>
                </a:moveTo>
                <a:cubicBezTo>
                  <a:pt x="2966422" y="985191"/>
                  <a:pt x="2965705" y="983426"/>
                  <a:pt x="2964988" y="981643"/>
                </a:cubicBezTo>
                <a:lnTo>
                  <a:pt x="2991847" y="970759"/>
                </a:lnTo>
                <a:cubicBezTo>
                  <a:pt x="2992583" y="972579"/>
                  <a:pt x="2993318" y="974399"/>
                  <a:pt x="2994054" y="976201"/>
                </a:cubicBezTo>
                <a:lnTo>
                  <a:pt x="2967157" y="986974"/>
                </a:lnTo>
                <a:close/>
                <a:moveTo>
                  <a:pt x="138785" y="985522"/>
                </a:moveTo>
                <a:lnTo>
                  <a:pt x="111888" y="974749"/>
                </a:lnTo>
                <a:cubicBezTo>
                  <a:pt x="112605" y="972947"/>
                  <a:pt x="113341" y="971127"/>
                  <a:pt x="114076" y="969325"/>
                </a:cubicBezTo>
                <a:lnTo>
                  <a:pt x="140936" y="980209"/>
                </a:lnTo>
                <a:cubicBezTo>
                  <a:pt x="140219" y="981974"/>
                  <a:pt x="139502" y="983757"/>
                  <a:pt x="138785" y="985540"/>
                </a:cubicBezTo>
                <a:close/>
                <a:moveTo>
                  <a:pt x="2959509" y="968314"/>
                </a:moveTo>
                <a:cubicBezTo>
                  <a:pt x="2958774" y="966549"/>
                  <a:pt x="2958038" y="964784"/>
                  <a:pt x="2957284" y="963001"/>
                </a:cubicBezTo>
                <a:lnTo>
                  <a:pt x="2983979" y="951750"/>
                </a:lnTo>
                <a:cubicBezTo>
                  <a:pt x="2984733" y="953551"/>
                  <a:pt x="2985505" y="955353"/>
                  <a:pt x="2986240" y="957173"/>
                </a:cubicBezTo>
                <a:lnTo>
                  <a:pt x="2959491" y="968296"/>
                </a:lnTo>
                <a:close/>
                <a:moveTo>
                  <a:pt x="146396" y="966917"/>
                </a:moveTo>
                <a:lnTo>
                  <a:pt x="119647" y="955794"/>
                </a:lnTo>
                <a:cubicBezTo>
                  <a:pt x="120400" y="953993"/>
                  <a:pt x="121154" y="952191"/>
                  <a:pt x="121908" y="950389"/>
                </a:cubicBezTo>
                <a:lnTo>
                  <a:pt x="148621" y="961604"/>
                </a:lnTo>
                <a:cubicBezTo>
                  <a:pt x="147885" y="963369"/>
                  <a:pt x="147132" y="965134"/>
                  <a:pt x="146396" y="966899"/>
                </a:cubicBezTo>
                <a:close/>
                <a:moveTo>
                  <a:pt x="2951640" y="949764"/>
                </a:moveTo>
                <a:cubicBezTo>
                  <a:pt x="2950887" y="947999"/>
                  <a:pt x="2950115" y="946234"/>
                  <a:pt x="2949342" y="944469"/>
                </a:cubicBezTo>
                <a:lnTo>
                  <a:pt x="2975908" y="932887"/>
                </a:lnTo>
                <a:cubicBezTo>
                  <a:pt x="2976699" y="934689"/>
                  <a:pt x="2977471" y="936472"/>
                  <a:pt x="2978243" y="938274"/>
                </a:cubicBezTo>
                <a:lnTo>
                  <a:pt x="2951640" y="949764"/>
                </a:lnTo>
                <a:close/>
                <a:moveTo>
                  <a:pt x="154228" y="948422"/>
                </a:moveTo>
                <a:lnTo>
                  <a:pt x="127626" y="936950"/>
                </a:lnTo>
                <a:cubicBezTo>
                  <a:pt x="128398" y="935167"/>
                  <a:pt x="129170" y="933365"/>
                  <a:pt x="129960" y="931582"/>
                </a:cubicBezTo>
                <a:lnTo>
                  <a:pt x="156526" y="943164"/>
                </a:lnTo>
                <a:cubicBezTo>
                  <a:pt x="155754" y="944911"/>
                  <a:pt x="155000" y="946676"/>
                  <a:pt x="154246" y="948440"/>
                </a:cubicBezTo>
                <a:close/>
                <a:moveTo>
                  <a:pt x="2943514" y="931306"/>
                </a:moveTo>
                <a:cubicBezTo>
                  <a:pt x="2942724" y="929559"/>
                  <a:pt x="2941952" y="927813"/>
                  <a:pt x="2941161" y="926066"/>
                </a:cubicBezTo>
                <a:lnTo>
                  <a:pt x="2967562" y="914116"/>
                </a:lnTo>
                <a:cubicBezTo>
                  <a:pt x="2968370" y="915900"/>
                  <a:pt x="2969179" y="917683"/>
                  <a:pt x="2969970" y="919485"/>
                </a:cubicBezTo>
                <a:lnTo>
                  <a:pt x="2943514" y="931306"/>
                </a:lnTo>
                <a:close/>
                <a:moveTo>
                  <a:pt x="162317" y="930019"/>
                </a:moveTo>
                <a:lnTo>
                  <a:pt x="135862" y="918198"/>
                </a:lnTo>
                <a:cubicBezTo>
                  <a:pt x="136652" y="916415"/>
                  <a:pt x="137461" y="914631"/>
                  <a:pt x="138252" y="912866"/>
                </a:cubicBezTo>
                <a:lnTo>
                  <a:pt x="164652" y="924798"/>
                </a:lnTo>
                <a:cubicBezTo>
                  <a:pt x="163862" y="926544"/>
                  <a:pt x="163071" y="928291"/>
                  <a:pt x="162299" y="930038"/>
                </a:cubicBezTo>
                <a:close/>
                <a:moveTo>
                  <a:pt x="2935168" y="912977"/>
                </a:moveTo>
                <a:cubicBezTo>
                  <a:pt x="2934359" y="911230"/>
                  <a:pt x="2933550" y="909484"/>
                  <a:pt x="2932741" y="907755"/>
                </a:cubicBezTo>
                <a:lnTo>
                  <a:pt x="2958976" y="895475"/>
                </a:lnTo>
                <a:cubicBezTo>
                  <a:pt x="2959803" y="897239"/>
                  <a:pt x="2960631" y="899023"/>
                  <a:pt x="2961458" y="900788"/>
                </a:cubicBezTo>
                <a:lnTo>
                  <a:pt x="2935168" y="912977"/>
                </a:lnTo>
                <a:close/>
                <a:moveTo>
                  <a:pt x="170627" y="911727"/>
                </a:moveTo>
                <a:lnTo>
                  <a:pt x="144337" y="899556"/>
                </a:lnTo>
                <a:cubicBezTo>
                  <a:pt x="145146" y="897791"/>
                  <a:pt x="145973" y="896026"/>
                  <a:pt x="146801" y="894243"/>
                </a:cubicBezTo>
                <a:lnTo>
                  <a:pt x="173054" y="906524"/>
                </a:lnTo>
                <a:cubicBezTo>
                  <a:pt x="172245" y="908252"/>
                  <a:pt x="171436" y="909998"/>
                  <a:pt x="170627" y="911727"/>
                </a:cubicBezTo>
                <a:close/>
                <a:moveTo>
                  <a:pt x="2926582" y="894739"/>
                </a:moveTo>
                <a:cubicBezTo>
                  <a:pt x="2925755" y="893011"/>
                  <a:pt x="2924928" y="891283"/>
                  <a:pt x="2924082" y="889555"/>
                </a:cubicBezTo>
                <a:lnTo>
                  <a:pt x="2950170" y="876943"/>
                </a:lnTo>
                <a:cubicBezTo>
                  <a:pt x="2951015" y="878708"/>
                  <a:pt x="2951879" y="880473"/>
                  <a:pt x="2952725" y="882238"/>
                </a:cubicBezTo>
                <a:lnTo>
                  <a:pt x="2926601" y="894758"/>
                </a:lnTo>
                <a:close/>
                <a:moveTo>
                  <a:pt x="179194" y="893544"/>
                </a:moveTo>
                <a:lnTo>
                  <a:pt x="153070" y="881024"/>
                </a:lnTo>
                <a:cubicBezTo>
                  <a:pt x="153916" y="879259"/>
                  <a:pt x="154761" y="877513"/>
                  <a:pt x="155607" y="875748"/>
                </a:cubicBezTo>
                <a:lnTo>
                  <a:pt x="181695" y="888360"/>
                </a:lnTo>
                <a:cubicBezTo>
                  <a:pt x="180867" y="890088"/>
                  <a:pt x="180040" y="891816"/>
                  <a:pt x="179213" y="893526"/>
                </a:cubicBezTo>
                <a:close/>
                <a:moveTo>
                  <a:pt x="2917739" y="876612"/>
                </a:moveTo>
                <a:lnTo>
                  <a:pt x="2915147" y="871409"/>
                </a:lnTo>
                <a:lnTo>
                  <a:pt x="2941088" y="858503"/>
                </a:lnTo>
                <a:lnTo>
                  <a:pt x="2943680" y="863724"/>
                </a:lnTo>
                <a:lnTo>
                  <a:pt x="2917721" y="876612"/>
                </a:lnTo>
                <a:close/>
                <a:moveTo>
                  <a:pt x="188000" y="875491"/>
                </a:moveTo>
                <a:lnTo>
                  <a:pt x="162041" y="862640"/>
                </a:lnTo>
                <a:cubicBezTo>
                  <a:pt x="162906" y="860893"/>
                  <a:pt x="163770" y="859147"/>
                  <a:pt x="164652" y="857400"/>
                </a:cubicBezTo>
                <a:lnTo>
                  <a:pt x="190574" y="870361"/>
                </a:lnTo>
                <a:cubicBezTo>
                  <a:pt x="189710" y="872071"/>
                  <a:pt x="188865" y="873781"/>
                  <a:pt x="188019" y="875509"/>
                </a:cubicBezTo>
                <a:close/>
                <a:moveTo>
                  <a:pt x="2908694" y="858632"/>
                </a:moveTo>
                <a:cubicBezTo>
                  <a:pt x="2907830" y="856922"/>
                  <a:pt x="2906948" y="855231"/>
                  <a:pt x="2906065" y="853521"/>
                </a:cubicBezTo>
                <a:lnTo>
                  <a:pt x="2931803" y="840229"/>
                </a:lnTo>
                <a:cubicBezTo>
                  <a:pt x="2932704" y="841957"/>
                  <a:pt x="2933587" y="843685"/>
                  <a:pt x="2934469" y="845432"/>
                </a:cubicBezTo>
                <a:lnTo>
                  <a:pt x="2908676" y="858632"/>
                </a:lnTo>
                <a:close/>
                <a:moveTo>
                  <a:pt x="197027" y="857547"/>
                </a:moveTo>
                <a:lnTo>
                  <a:pt x="171234" y="844347"/>
                </a:lnTo>
                <a:cubicBezTo>
                  <a:pt x="172116" y="842619"/>
                  <a:pt x="173017" y="840872"/>
                  <a:pt x="173900" y="839144"/>
                </a:cubicBezTo>
                <a:lnTo>
                  <a:pt x="199638" y="852436"/>
                </a:lnTo>
                <a:cubicBezTo>
                  <a:pt x="198755" y="854146"/>
                  <a:pt x="197891" y="855837"/>
                  <a:pt x="197009" y="857547"/>
                </a:cubicBezTo>
                <a:close/>
                <a:moveTo>
                  <a:pt x="2899428" y="840799"/>
                </a:moveTo>
                <a:cubicBezTo>
                  <a:pt x="2898546" y="839108"/>
                  <a:pt x="2897645" y="837435"/>
                  <a:pt x="2896744" y="835743"/>
                </a:cubicBezTo>
                <a:lnTo>
                  <a:pt x="2922317" y="822120"/>
                </a:lnTo>
                <a:cubicBezTo>
                  <a:pt x="2923236" y="823848"/>
                  <a:pt x="2924156" y="825558"/>
                  <a:pt x="2925056" y="827286"/>
                </a:cubicBezTo>
                <a:lnTo>
                  <a:pt x="2899428" y="840799"/>
                </a:lnTo>
                <a:close/>
                <a:moveTo>
                  <a:pt x="206293" y="839714"/>
                </a:moveTo>
                <a:lnTo>
                  <a:pt x="180683" y="826183"/>
                </a:lnTo>
                <a:cubicBezTo>
                  <a:pt x="181584" y="824455"/>
                  <a:pt x="182503" y="822745"/>
                  <a:pt x="183423" y="821017"/>
                </a:cubicBezTo>
                <a:lnTo>
                  <a:pt x="208996" y="834658"/>
                </a:lnTo>
                <a:cubicBezTo>
                  <a:pt x="208095" y="836350"/>
                  <a:pt x="207194" y="838041"/>
                  <a:pt x="206312" y="839733"/>
                </a:cubicBezTo>
                <a:close/>
                <a:moveTo>
                  <a:pt x="2889960" y="823131"/>
                </a:moveTo>
                <a:cubicBezTo>
                  <a:pt x="2889041" y="821458"/>
                  <a:pt x="2888122" y="819785"/>
                  <a:pt x="2887203" y="818094"/>
                </a:cubicBezTo>
                <a:lnTo>
                  <a:pt x="2912592" y="804140"/>
                </a:lnTo>
                <a:cubicBezTo>
                  <a:pt x="2913529" y="805832"/>
                  <a:pt x="2914449" y="807541"/>
                  <a:pt x="2915386" y="809251"/>
                </a:cubicBezTo>
                <a:lnTo>
                  <a:pt x="2889942" y="823113"/>
                </a:lnTo>
                <a:close/>
                <a:moveTo>
                  <a:pt x="215798" y="822028"/>
                </a:moveTo>
                <a:lnTo>
                  <a:pt x="190354" y="808148"/>
                </a:lnTo>
                <a:cubicBezTo>
                  <a:pt x="191291" y="806438"/>
                  <a:pt x="192229" y="804728"/>
                  <a:pt x="193167" y="803019"/>
                </a:cubicBezTo>
                <a:lnTo>
                  <a:pt x="218556" y="816991"/>
                </a:lnTo>
                <a:cubicBezTo>
                  <a:pt x="217636" y="818664"/>
                  <a:pt x="216717" y="820337"/>
                  <a:pt x="215798" y="822028"/>
                </a:cubicBezTo>
                <a:close/>
                <a:moveTo>
                  <a:pt x="2880235" y="805556"/>
                </a:moveTo>
                <a:cubicBezTo>
                  <a:pt x="2879297" y="803883"/>
                  <a:pt x="2878360" y="802210"/>
                  <a:pt x="2877404" y="800537"/>
                </a:cubicBezTo>
                <a:lnTo>
                  <a:pt x="2902609" y="786252"/>
                </a:lnTo>
                <a:cubicBezTo>
                  <a:pt x="2903565" y="787943"/>
                  <a:pt x="2904521" y="789635"/>
                  <a:pt x="2905477" y="791344"/>
                </a:cubicBezTo>
                <a:lnTo>
                  <a:pt x="2880217" y="805537"/>
                </a:lnTo>
                <a:close/>
                <a:moveTo>
                  <a:pt x="225523" y="804453"/>
                </a:moveTo>
                <a:lnTo>
                  <a:pt x="200263" y="790241"/>
                </a:lnTo>
                <a:cubicBezTo>
                  <a:pt x="201219" y="788550"/>
                  <a:pt x="202175" y="786840"/>
                  <a:pt x="203131" y="785149"/>
                </a:cubicBezTo>
                <a:lnTo>
                  <a:pt x="228336" y="799452"/>
                </a:lnTo>
                <a:cubicBezTo>
                  <a:pt x="227399" y="801125"/>
                  <a:pt x="226443" y="802780"/>
                  <a:pt x="225505" y="804453"/>
                </a:cubicBezTo>
                <a:close/>
                <a:moveTo>
                  <a:pt x="2870270" y="788090"/>
                </a:moveTo>
                <a:cubicBezTo>
                  <a:pt x="2869314" y="786436"/>
                  <a:pt x="2868340" y="784781"/>
                  <a:pt x="2867384" y="783127"/>
                </a:cubicBezTo>
                <a:lnTo>
                  <a:pt x="2892405" y="768511"/>
                </a:lnTo>
                <a:cubicBezTo>
                  <a:pt x="2893398" y="770202"/>
                  <a:pt x="2894373" y="771875"/>
                  <a:pt x="2895347" y="773567"/>
                </a:cubicBezTo>
                <a:lnTo>
                  <a:pt x="2870270" y="788090"/>
                </a:lnTo>
                <a:close/>
                <a:moveTo>
                  <a:pt x="235488" y="787006"/>
                </a:moveTo>
                <a:lnTo>
                  <a:pt x="210430" y="772464"/>
                </a:lnTo>
                <a:cubicBezTo>
                  <a:pt x="211404" y="770772"/>
                  <a:pt x="212397" y="769099"/>
                  <a:pt x="213371" y="767408"/>
                </a:cubicBezTo>
                <a:lnTo>
                  <a:pt x="238374" y="782042"/>
                </a:lnTo>
                <a:cubicBezTo>
                  <a:pt x="237400" y="783697"/>
                  <a:pt x="236444" y="785351"/>
                  <a:pt x="235488" y="787006"/>
                </a:cubicBezTo>
                <a:close/>
                <a:moveTo>
                  <a:pt x="2860067" y="770754"/>
                </a:moveTo>
                <a:cubicBezTo>
                  <a:pt x="2859093" y="769099"/>
                  <a:pt x="2858100" y="767463"/>
                  <a:pt x="2857107" y="765827"/>
                </a:cubicBezTo>
                <a:lnTo>
                  <a:pt x="2881945" y="750898"/>
                </a:lnTo>
                <a:cubicBezTo>
                  <a:pt x="2882956" y="752571"/>
                  <a:pt x="2883948" y="754244"/>
                  <a:pt x="2884941" y="755917"/>
                </a:cubicBezTo>
                <a:lnTo>
                  <a:pt x="2860067" y="770772"/>
                </a:lnTo>
                <a:close/>
                <a:moveTo>
                  <a:pt x="245673" y="769706"/>
                </a:moveTo>
                <a:lnTo>
                  <a:pt x="220798" y="754833"/>
                </a:lnTo>
                <a:cubicBezTo>
                  <a:pt x="221791" y="753160"/>
                  <a:pt x="222802" y="751487"/>
                  <a:pt x="223814" y="749814"/>
                </a:cubicBezTo>
                <a:lnTo>
                  <a:pt x="248614" y="764779"/>
                </a:lnTo>
                <a:cubicBezTo>
                  <a:pt x="247622" y="766415"/>
                  <a:pt x="246647" y="768051"/>
                  <a:pt x="245673" y="769687"/>
                </a:cubicBezTo>
                <a:close/>
                <a:moveTo>
                  <a:pt x="2849661" y="753546"/>
                </a:moveTo>
                <a:cubicBezTo>
                  <a:pt x="2848669" y="751910"/>
                  <a:pt x="2847657" y="750292"/>
                  <a:pt x="2846646" y="748674"/>
                </a:cubicBezTo>
                <a:lnTo>
                  <a:pt x="2871263" y="733396"/>
                </a:lnTo>
                <a:cubicBezTo>
                  <a:pt x="2872293" y="735051"/>
                  <a:pt x="2873322" y="736724"/>
                  <a:pt x="2874352" y="738397"/>
                </a:cubicBezTo>
                <a:lnTo>
                  <a:pt x="2849661" y="753546"/>
                </a:lnTo>
                <a:close/>
                <a:moveTo>
                  <a:pt x="256097" y="752553"/>
                </a:moveTo>
                <a:lnTo>
                  <a:pt x="231425" y="737349"/>
                </a:lnTo>
                <a:cubicBezTo>
                  <a:pt x="232436" y="735694"/>
                  <a:pt x="233465" y="734040"/>
                  <a:pt x="234495" y="732385"/>
                </a:cubicBezTo>
                <a:lnTo>
                  <a:pt x="259112" y="747663"/>
                </a:lnTo>
                <a:cubicBezTo>
                  <a:pt x="258101" y="749281"/>
                  <a:pt x="257090" y="750917"/>
                  <a:pt x="256097" y="752553"/>
                </a:cubicBezTo>
                <a:close/>
                <a:moveTo>
                  <a:pt x="2839017" y="736485"/>
                </a:moveTo>
                <a:cubicBezTo>
                  <a:pt x="2837987" y="734867"/>
                  <a:pt x="2836958" y="733249"/>
                  <a:pt x="2835928" y="731631"/>
                </a:cubicBezTo>
                <a:lnTo>
                  <a:pt x="2860361" y="716041"/>
                </a:lnTo>
                <a:cubicBezTo>
                  <a:pt x="2861409" y="717678"/>
                  <a:pt x="2862457" y="719332"/>
                  <a:pt x="2863505" y="720987"/>
                </a:cubicBezTo>
                <a:lnTo>
                  <a:pt x="2839017" y="736485"/>
                </a:lnTo>
                <a:close/>
                <a:moveTo>
                  <a:pt x="266742" y="735511"/>
                </a:moveTo>
                <a:lnTo>
                  <a:pt x="242272" y="719994"/>
                </a:lnTo>
                <a:cubicBezTo>
                  <a:pt x="243320" y="718358"/>
                  <a:pt x="244368" y="716703"/>
                  <a:pt x="245415" y="715067"/>
                </a:cubicBezTo>
                <a:lnTo>
                  <a:pt x="269830" y="730675"/>
                </a:lnTo>
                <a:cubicBezTo>
                  <a:pt x="268801" y="732293"/>
                  <a:pt x="267771" y="733893"/>
                  <a:pt x="266742" y="735511"/>
                </a:cubicBezTo>
                <a:close/>
                <a:moveTo>
                  <a:pt x="2828151" y="719553"/>
                </a:moveTo>
                <a:cubicBezTo>
                  <a:pt x="2827104" y="717953"/>
                  <a:pt x="2826055" y="716354"/>
                  <a:pt x="2825008" y="714736"/>
                </a:cubicBezTo>
                <a:lnTo>
                  <a:pt x="2849220" y="698833"/>
                </a:lnTo>
                <a:cubicBezTo>
                  <a:pt x="2850286" y="700470"/>
                  <a:pt x="2851353" y="702106"/>
                  <a:pt x="2852419" y="703742"/>
                </a:cubicBezTo>
                <a:lnTo>
                  <a:pt x="2828133" y="719553"/>
                </a:lnTo>
                <a:close/>
                <a:moveTo>
                  <a:pt x="277588" y="718634"/>
                </a:moveTo>
                <a:lnTo>
                  <a:pt x="253321" y="702786"/>
                </a:lnTo>
                <a:cubicBezTo>
                  <a:pt x="254387" y="701150"/>
                  <a:pt x="255453" y="699532"/>
                  <a:pt x="256520" y="697896"/>
                </a:cubicBezTo>
                <a:lnTo>
                  <a:pt x="280714" y="713835"/>
                </a:lnTo>
                <a:cubicBezTo>
                  <a:pt x="279666" y="715435"/>
                  <a:pt x="278618" y="717034"/>
                  <a:pt x="277570" y="718634"/>
                </a:cubicBezTo>
                <a:close/>
                <a:moveTo>
                  <a:pt x="2817066" y="702786"/>
                </a:moveTo>
                <a:cubicBezTo>
                  <a:pt x="2815999" y="701205"/>
                  <a:pt x="2814933" y="699606"/>
                  <a:pt x="2813848" y="698025"/>
                </a:cubicBezTo>
                <a:lnTo>
                  <a:pt x="2837858" y="681809"/>
                </a:lnTo>
                <a:cubicBezTo>
                  <a:pt x="2838961" y="683427"/>
                  <a:pt x="2840046" y="685045"/>
                  <a:pt x="2841131" y="686663"/>
                </a:cubicBezTo>
                <a:lnTo>
                  <a:pt x="2817066" y="702786"/>
                </a:lnTo>
                <a:close/>
                <a:moveTo>
                  <a:pt x="288674" y="701904"/>
                </a:moveTo>
                <a:lnTo>
                  <a:pt x="264627" y="685744"/>
                </a:lnTo>
                <a:cubicBezTo>
                  <a:pt x="265712" y="684126"/>
                  <a:pt x="266797" y="682508"/>
                  <a:pt x="267900" y="680908"/>
                </a:cubicBezTo>
                <a:lnTo>
                  <a:pt x="291892" y="697142"/>
                </a:lnTo>
                <a:cubicBezTo>
                  <a:pt x="290825" y="698723"/>
                  <a:pt x="289759" y="700304"/>
                  <a:pt x="288693" y="701904"/>
                </a:cubicBezTo>
                <a:close/>
                <a:moveTo>
                  <a:pt x="2805759" y="686148"/>
                </a:moveTo>
                <a:cubicBezTo>
                  <a:pt x="2804674" y="684567"/>
                  <a:pt x="2803590" y="683004"/>
                  <a:pt x="2802487" y="681423"/>
                </a:cubicBezTo>
                <a:lnTo>
                  <a:pt x="2826276" y="664877"/>
                </a:lnTo>
                <a:cubicBezTo>
                  <a:pt x="2827398" y="666477"/>
                  <a:pt x="2828501" y="668076"/>
                  <a:pt x="2829604" y="669694"/>
                </a:cubicBezTo>
                <a:lnTo>
                  <a:pt x="2805759" y="686148"/>
                </a:lnTo>
                <a:close/>
                <a:moveTo>
                  <a:pt x="299981" y="685321"/>
                </a:moveTo>
                <a:lnTo>
                  <a:pt x="276136" y="668848"/>
                </a:lnTo>
                <a:cubicBezTo>
                  <a:pt x="277239" y="667249"/>
                  <a:pt x="278361" y="665649"/>
                  <a:pt x="279464" y="664050"/>
                </a:cubicBezTo>
                <a:lnTo>
                  <a:pt x="303235" y="680614"/>
                </a:lnTo>
                <a:cubicBezTo>
                  <a:pt x="302150" y="682177"/>
                  <a:pt x="301047" y="683758"/>
                  <a:pt x="299962" y="685321"/>
                </a:cubicBezTo>
                <a:close/>
                <a:moveTo>
                  <a:pt x="2794232" y="669676"/>
                </a:moveTo>
                <a:cubicBezTo>
                  <a:pt x="2793129" y="668113"/>
                  <a:pt x="2792026" y="666550"/>
                  <a:pt x="2790904" y="665006"/>
                </a:cubicBezTo>
                <a:lnTo>
                  <a:pt x="2814473" y="648147"/>
                </a:lnTo>
                <a:cubicBezTo>
                  <a:pt x="2815613" y="649728"/>
                  <a:pt x="2816753" y="651328"/>
                  <a:pt x="2817874" y="652927"/>
                </a:cubicBezTo>
                <a:lnTo>
                  <a:pt x="2794232" y="669676"/>
                </a:lnTo>
                <a:close/>
                <a:moveTo>
                  <a:pt x="311490" y="668885"/>
                </a:moveTo>
                <a:lnTo>
                  <a:pt x="287865" y="652100"/>
                </a:lnTo>
                <a:cubicBezTo>
                  <a:pt x="288987" y="650519"/>
                  <a:pt x="290127" y="648938"/>
                  <a:pt x="291248" y="647338"/>
                </a:cubicBezTo>
                <a:lnTo>
                  <a:pt x="314799" y="664215"/>
                </a:lnTo>
                <a:cubicBezTo>
                  <a:pt x="313677" y="665778"/>
                  <a:pt x="312574" y="667322"/>
                  <a:pt x="311471" y="668885"/>
                </a:cubicBezTo>
                <a:close/>
                <a:moveTo>
                  <a:pt x="2782503" y="653350"/>
                </a:moveTo>
                <a:cubicBezTo>
                  <a:pt x="2781381" y="651806"/>
                  <a:pt x="2780241" y="650261"/>
                  <a:pt x="2779101" y="648717"/>
                </a:cubicBezTo>
                <a:lnTo>
                  <a:pt x="2802450" y="631564"/>
                </a:lnTo>
                <a:cubicBezTo>
                  <a:pt x="2803608" y="633127"/>
                  <a:pt x="2804748" y="634708"/>
                  <a:pt x="2805906" y="636289"/>
                </a:cubicBezTo>
                <a:lnTo>
                  <a:pt x="2782503" y="653368"/>
                </a:lnTo>
                <a:close/>
                <a:moveTo>
                  <a:pt x="323237" y="652615"/>
                </a:moveTo>
                <a:lnTo>
                  <a:pt x="299852" y="635517"/>
                </a:lnTo>
                <a:cubicBezTo>
                  <a:pt x="300992" y="633954"/>
                  <a:pt x="302150" y="632373"/>
                  <a:pt x="303308" y="630811"/>
                </a:cubicBezTo>
                <a:lnTo>
                  <a:pt x="326638" y="647982"/>
                </a:lnTo>
                <a:cubicBezTo>
                  <a:pt x="325499" y="649526"/>
                  <a:pt x="324377" y="651070"/>
                  <a:pt x="323237" y="652615"/>
                </a:cubicBezTo>
                <a:close/>
                <a:moveTo>
                  <a:pt x="2770534" y="637190"/>
                </a:moveTo>
                <a:cubicBezTo>
                  <a:pt x="2769376" y="635664"/>
                  <a:pt x="2768236" y="634120"/>
                  <a:pt x="2767078" y="632594"/>
                </a:cubicBezTo>
                <a:lnTo>
                  <a:pt x="2790187" y="615129"/>
                </a:lnTo>
                <a:cubicBezTo>
                  <a:pt x="2791364" y="616691"/>
                  <a:pt x="2792540" y="618236"/>
                  <a:pt x="2793699" y="619798"/>
                </a:cubicBezTo>
                <a:lnTo>
                  <a:pt x="2770516" y="637190"/>
                </a:lnTo>
                <a:close/>
                <a:moveTo>
                  <a:pt x="335169" y="636473"/>
                </a:moveTo>
                <a:lnTo>
                  <a:pt x="312004" y="619081"/>
                </a:lnTo>
                <a:cubicBezTo>
                  <a:pt x="313181" y="617519"/>
                  <a:pt x="314339" y="615974"/>
                  <a:pt x="315516" y="614412"/>
                </a:cubicBezTo>
                <a:lnTo>
                  <a:pt x="338607" y="631895"/>
                </a:lnTo>
                <a:cubicBezTo>
                  <a:pt x="337449" y="633421"/>
                  <a:pt x="336309" y="634947"/>
                  <a:pt x="335150" y="636473"/>
                </a:cubicBezTo>
                <a:close/>
                <a:moveTo>
                  <a:pt x="2758382" y="621196"/>
                </a:moveTo>
                <a:cubicBezTo>
                  <a:pt x="2757205" y="619670"/>
                  <a:pt x="2756029" y="618162"/>
                  <a:pt x="2754852" y="616636"/>
                </a:cubicBezTo>
                <a:lnTo>
                  <a:pt x="2777741" y="598858"/>
                </a:lnTo>
                <a:cubicBezTo>
                  <a:pt x="2778936" y="600403"/>
                  <a:pt x="2780131" y="601928"/>
                  <a:pt x="2781326" y="603473"/>
                </a:cubicBezTo>
                <a:lnTo>
                  <a:pt x="2758400" y="621177"/>
                </a:lnTo>
                <a:close/>
                <a:moveTo>
                  <a:pt x="347321" y="620534"/>
                </a:moveTo>
                <a:lnTo>
                  <a:pt x="324395" y="602829"/>
                </a:lnTo>
                <a:cubicBezTo>
                  <a:pt x="325590" y="601285"/>
                  <a:pt x="326786" y="599741"/>
                  <a:pt x="327980" y="598215"/>
                </a:cubicBezTo>
                <a:lnTo>
                  <a:pt x="350832" y="616011"/>
                </a:lnTo>
                <a:cubicBezTo>
                  <a:pt x="349656" y="617519"/>
                  <a:pt x="348498" y="619026"/>
                  <a:pt x="347321" y="620534"/>
                </a:cubicBezTo>
                <a:close/>
                <a:moveTo>
                  <a:pt x="2745991" y="605330"/>
                </a:moveTo>
                <a:cubicBezTo>
                  <a:pt x="2744796" y="603822"/>
                  <a:pt x="2743601" y="602333"/>
                  <a:pt x="2742406" y="600825"/>
                </a:cubicBezTo>
                <a:lnTo>
                  <a:pt x="2765056" y="582753"/>
                </a:lnTo>
                <a:cubicBezTo>
                  <a:pt x="2766269" y="584279"/>
                  <a:pt x="2767482" y="585805"/>
                  <a:pt x="2768696" y="587331"/>
                </a:cubicBezTo>
                <a:lnTo>
                  <a:pt x="2745991" y="605330"/>
                </a:lnTo>
                <a:close/>
                <a:moveTo>
                  <a:pt x="359694" y="604723"/>
                </a:moveTo>
                <a:lnTo>
                  <a:pt x="336989" y="586706"/>
                </a:lnTo>
                <a:cubicBezTo>
                  <a:pt x="338202" y="585180"/>
                  <a:pt x="339416" y="583654"/>
                  <a:pt x="340629" y="582128"/>
                </a:cubicBezTo>
                <a:lnTo>
                  <a:pt x="363260" y="600219"/>
                </a:lnTo>
                <a:cubicBezTo>
                  <a:pt x="362065" y="601708"/>
                  <a:pt x="360870" y="603197"/>
                  <a:pt x="359694" y="604705"/>
                </a:cubicBezTo>
                <a:close/>
                <a:moveTo>
                  <a:pt x="2733397" y="589666"/>
                </a:moveTo>
                <a:cubicBezTo>
                  <a:pt x="2732184" y="588177"/>
                  <a:pt x="2730971" y="586706"/>
                  <a:pt x="2729757" y="585217"/>
                </a:cubicBezTo>
                <a:lnTo>
                  <a:pt x="2752150" y="566832"/>
                </a:lnTo>
                <a:cubicBezTo>
                  <a:pt x="2753381" y="568340"/>
                  <a:pt x="2754632" y="569847"/>
                  <a:pt x="2755863" y="571373"/>
                </a:cubicBezTo>
                <a:lnTo>
                  <a:pt x="2733397" y="589666"/>
                </a:lnTo>
                <a:close/>
                <a:moveTo>
                  <a:pt x="372269" y="589096"/>
                </a:moveTo>
                <a:lnTo>
                  <a:pt x="349821" y="570785"/>
                </a:lnTo>
                <a:cubicBezTo>
                  <a:pt x="351053" y="569278"/>
                  <a:pt x="352285" y="567770"/>
                  <a:pt x="353517" y="566262"/>
                </a:cubicBezTo>
                <a:lnTo>
                  <a:pt x="375909" y="584665"/>
                </a:lnTo>
                <a:cubicBezTo>
                  <a:pt x="374696" y="586136"/>
                  <a:pt x="373482" y="587625"/>
                  <a:pt x="372287" y="589096"/>
                </a:cubicBezTo>
                <a:close/>
                <a:moveTo>
                  <a:pt x="2720602" y="574149"/>
                </a:moveTo>
                <a:cubicBezTo>
                  <a:pt x="2719370" y="572679"/>
                  <a:pt x="2718138" y="571208"/>
                  <a:pt x="2716906" y="569756"/>
                </a:cubicBezTo>
                <a:lnTo>
                  <a:pt x="2739060" y="551095"/>
                </a:lnTo>
                <a:cubicBezTo>
                  <a:pt x="2740310" y="552584"/>
                  <a:pt x="2741579" y="554074"/>
                  <a:pt x="2742829" y="555581"/>
                </a:cubicBezTo>
                <a:lnTo>
                  <a:pt x="2720602" y="574168"/>
                </a:lnTo>
                <a:close/>
                <a:moveTo>
                  <a:pt x="385046" y="573635"/>
                </a:moveTo>
                <a:lnTo>
                  <a:pt x="362838" y="555029"/>
                </a:lnTo>
                <a:cubicBezTo>
                  <a:pt x="364088" y="553540"/>
                  <a:pt x="365338" y="552051"/>
                  <a:pt x="366606" y="550562"/>
                </a:cubicBezTo>
                <a:lnTo>
                  <a:pt x="388741" y="569259"/>
                </a:lnTo>
                <a:cubicBezTo>
                  <a:pt x="387510" y="570712"/>
                  <a:pt x="386278" y="572182"/>
                  <a:pt x="385065" y="573635"/>
                </a:cubicBezTo>
                <a:close/>
                <a:moveTo>
                  <a:pt x="2707604" y="558817"/>
                </a:moveTo>
                <a:cubicBezTo>
                  <a:pt x="2706354" y="557364"/>
                  <a:pt x="2705104" y="555912"/>
                  <a:pt x="2703853" y="554460"/>
                </a:cubicBezTo>
                <a:lnTo>
                  <a:pt x="2725768" y="535505"/>
                </a:lnTo>
                <a:cubicBezTo>
                  <a:pt x="2727036" y="536976"/>
                  <a:pt x="2728323" y="538447"/>
                  <a:pt x="2729592" y="539936"/>
                </a:cubicBezTo>
                <a:lnTo>
                  <a:pt x="2707622" y="558817"/>
                </a:lnTo>
                <a:close/>
                <a:moveTo>
                  <a:pt x="398007" y="558357"/>
                </a:moveTo>
                <a:lnTo>
                  <a:pt x="376038" y="539458"/>
                </a:lnTo>
                <a:cubicBezTo>
                  <a:pt x="377306" y="537987"/>
                  <a:pt x="378575" y="536516"/>
                  <a:pt x="379862" y="535046"/>
                </a:cubicBezTo>
                <a:lnTo>
                  <a:pt x="401758" y="554018"/>
                </a:lnTo>
                <a:cubicBezTo>
                  <a:pt x="400508" y="555452"/>
                  <a:pt x="399257" y="556905"/>
                  <a:pt x="398007" y="558357"/>
                </a:cubicBezTo>
                <a:close/>
                <a:moveTo>
                  <a:pt x="2694385" y="543649"/>
                </a:moveTo>
                <a:cubicBezTo>
                  <a:pt x="2693117" y="542215"/>
                  <a:pt x="2691867" y="540800"/>
                  <a:pt x="2690598" y="539384"/>
                </a:cubicBezTo>
                <a:lnTo>
                  <a:pt x="2712237" y="520117"/>
                </a:lnTo>
                <a:cubicBezTo>
                  <a:pt x="2713524" y="521570"/>
                  <a:pt x="2714829" y="523022"/>
                  <a:pt x="2716116" y="524493"/>
                </a:cubicBezTo>
                <a:lnTo>
                  <a:pt x="2694385" y="543649"/>
                </a:lnTo>
                <a:close/>
                <a:moveTo>
                  <a:pt x="411189" y="543245"/>
                </a:moveTo>
                <a:lnTo>
                  <a:pt x="389477" y="524052"/>
                </a:lnTo>
                <a:cubicBezTo>
                  <a:pt x="390764" y="522599"/>
                  <a:pt x="392051" y="521147"/>
                  <a:pt x="393338" y="519694"/>
                </a:cubicBezTo>
                <a:lnTo>
                  <a:pt x="414976" y="538961"/>
                </a:lnTo>
                <a:cubicBezTo>
                  <a:pt x="413708" y="540395"/>
                  <a:pt x="412439" y="541811"/>
                  <a:pt x="411171" y="543245"/>
                </a:cubicBezTo>
                <a:close/>
                <a:moveTo>
                  <a:pt x="2681038" y="528721"/>
                </a:moveTo>
                <a:cubicBezTo>
                  <a:pt x="2679751" y="527306"/>
                  <a:pt x="2678464" y="525890"/>
                  <a:pt x="2677177" y="524493"/>
                </a:cubicBezTo>
                <a:lnTo>
                  <a:pt x="2698577" y="504950"/>
                </a:lnTo>
                <a:cubicBezTo>
                  <a:pt x="2699882" y="506384"/>
                  <a:pt x="2701188" y="507818"/>
                  <a:pt x="2702493" y="509252"/>
                </a:cubicBezTo>
                <a:lnTo>
                  <a:pt x="2681020" y="528721"/>
                </a:lnTo>
                <a:close/>
                <a:moveTo>
                  <a:pt x="424573" y="528317"/>
                </a:moveTo>
                <a:lnTo>
                  <a:pt x="403118" y="508848"/>
                </a:lnTo>
                <a:cubicBezTo>
                  <a:pt x="404423" y="507414"/>
                  <a:pt x="405729" y="505961"/>
                  <a:pt x="407052" y="504527"/>
                </a:cubicBezTo>
                <a:lnTo>
                  <a:pt x="428434" y="524088"/>
                </a:lnTo>
                <a:cubicBezTo>
                  <a:pt x="427147" y="525504"/>
                  <a:pt x="425860" y="526901"/>
                  <a:pt x="424591" y="528317"/>
                </a:cubicBezTo>
                <a:close/>
                <a:moveTo>
                  <a:pt x="2667489" y="513977"/>
                </a:moveTo>
                <a:cubicBezTo>
                  <a:pt x="2666202" y="512580"/>
                  <a:pt x="2664897" y="511201"/>
                  <a:pt x="2663591" y="509803"/>
                </a:cubicBezTo>
                <a:lnTo>
                  <a:pt x="2684715" y="489985"/>
                </a:lnTo>
                <a:cubicBezTo>
                  <a:pt x="2686039" y="491401"/>
                  <a:pt x="2687381" y="492835"/>
                  <a:pt x="2688705" y="494250"/>
                </a:cubicBezTo>
                <a:lnTo>
                  <a:pt x="2667489" y="513977"/>
                </a:lnTo>
                <a:close/>
                <a:moveTo>
                  <a:pt x="438122" y="513572"/>
                </a:moveTo>
                <a:lnTo>
                  <a:pt x="416925" y="493809"/>
                </a:lnTo>
                <a:cubicBezTo>
                  <a:pt x="418249" y="492393"/>
                  <a:pt x="419572" y="490959"/>
                  <a:pt x="420914" y="489544"/>
                </a:cubicBezTo>
                <a:lnTo>
                  <a:pt x="442038" y="509381"/>
                </a:lnTo>
                <a:cubicBezTo>
                  <a:pt x="440733" y="510778"/>
                  <a:pt x="439428" y="512175"/>
                  <a:pt x="438122" y="513572"/>
                </a:cubicBezTo>
                <a:close/>
                <a:moveTo>
                  <a:pt x="2653755" y="499416"/>
                </a:moveTo>
                <a:cubicBezTo>
                  <a:pt x="2652432" y="498037"/>
                  <a:pt x="2651127" y="496659"/>
                  <a:pt x="2649784" y="495280"/>
                </a:cubicBezTo>
                <a:lnTo>
                  <a:pt x="2670651" y="475185"/>
                </a:lnTo>
                <a:cubicBezTo>
                  <a:pt x="2671993" y="476583"/>
                  <a:pt x="2673335" y="477980"/>
                  <a:pt x="2674696" y="479395"/>
                </a:cubicBezTo>
                <a:lnTo>
                  <a:pt x="2653755" y="499416"/>
                </a:lnTo>
                <a:close/>
                <a:moveTo>
                  <a:pt x="451892" y="498993"/>
                </a:moveTo>
                <a:lnTo>
                  <a:pt x="430971" y="478954"/>
                </a:lnTo>
                <a:cubicBezTo>
                  <a:pt x="432313" y="477557"/>
                  <a:pt x="433655" y="476141"/>
                  <a:pt x="435015" y="474744"/>
                </a:cubicBezTo>
                <a:lnTo>
                  <a:pt x="455863" y="494857"/>
                </a:lnTo>
                <a:cubicBezTo>
                  <a:pt x="454540" y="496236"/>
                  <a:pt x="453216" y="497615"/>
                  <a:pt x="451892" y="498993"/>
                </a:cubicBezTo>
                <a:close/>
                <a:moveTo>
                  <a:pt x="2639820" y="485021"/>
                </a:moveTo>
                <a:cubicBezTo>
                  <a:pt x="2638478" y="483661"/>
                  <a:pt x="2637136" y="482300"/>
                  <a:pt x="2635794" y="480940"/>
                </a:cubicBezTo>
                <a:lnTo>
                  <a:pt x="2656385" y="460570"/>
                </a:lnTo>
                <a:cubicBezTo>
                  <a:pt x="2657745" y="461949"/>
                  <a:pt x="2659124" y="463327"/>
                  <a:pt x="2660484" y="464725"/>
                </a:cubicBezTo>
                <a:lnTo>
                  <a:pt x="2639820" y="485021"/>
                </a:lnTo>
                <a:close/>
                <a:moveTo>
                  <a:pt x="465846" y="484617"/>
                </a:moveTo>
                <a:lnTo>
                  <a:pt x="445182" y="464302"/>
                </a:lnTo>
                <a:cubicBezTo>
                  <a:pt x="446542" y="462923"/>
                  <a:pt x="447903" y="461526"/>
                  <a:pt x="449282" y="460147"/>
                </a:cubicBezTo>
                <a:lnTo>
                  <a:pt x="469872" y="480535"/>
                </a:lnTo>
                <a:cubicBezTo>
                  <a:pt x="468530" y="481896"/>
                  <a:pt x="467188" y="483256"/>
                  <a:pt x="465846" y="484617"/>
                </a:cubicBezTo>
                <a:close/>
                <a:moveTo>
                  <a:pt x="2625701" y="470828"/>
                </a:moveTo>
                <a:cubicBezTo>
                  <a:pt x="2624340" y="469486"/>
                  <a:pt x="2622980" y="468144"/>
                  <a:pt x="2621619" y="466802"/>
                </a:cubicBezTo>
                <a:lnTo>
                  <a:pt x="2641953" y="446156"/>
                </a:lnTo>
                <a:cubicBezTo>
                  <a:pt x="2643332" y="447517"/>
                  <a:pt x="2644710" y="448877"/>
                  <a:pt x="2646107" y="450256"/>
                </a:cubicBezTo>
                <a:lnTo>
                  <a:pt x="2625701" y="470828"/>
                </a:lnTo>
                <a:close/>
                <a:moveTo>
                  <a:pt x="479984" y="470424"/>
                </a:moveTo>
                <a:lnTo>
                  <a:pt x="459596" y="449852"/>
                </a:lnTo>
                <a:cubicBezTo>
                  <a:pt x="460974" y="448473"/>
                  <a:pt x="462353" y="447112"/>
                  <a:pt x="463750" y="445752"/>
                </a:cubicBezTo>
                <a:lnTo>
                  <a:pt x="484065" y="466416"/>
                </a:lnTo>
                <a:cubicBezTo>
                  <a:pt x="482705" y="467758"/>
                  <a:pt x="481344" y="469082"/>
                  <a:pt x="480002" y="470424"/>
                </a:cubicBezTo>
                <a:close/>
                <a:moveTo>
                  <a:pt x="2611361" y="456801"/>
                </a:moveTo>
                <a:cubicBezTo>
                  <a:pt x="2609982" y="455477"/>
                  <a:pt x="2608622" y="454153"/>
                  <a:pt x="2607243" y="452830"/>
                </a:cubicBezTo>
                <a:lnTo>
                  <a:pt x="2627282" y="431908"/>
                </a:lnTo>
                <a:cubicBezTo>
                  <a:pt x="2628679" y="433250"/>
                  <a:pt x="2630095" y="434611"/>
                  <a:pt x="2631492" y="435953"/>
                </a:cubicBezTo>
                <a:lnTo>
                  <a:pt x="2611361" y="456782"/>
                </a:lnTo>
                <a:close/>
                <a:moveTo>
                  <a:pt x="494306" y="456415"/>
                </a:moveTo>
                <a:lnTo>
                  <a:pt x="474174" y="435567"/>
                </a:lnTo>
                <a:cubicBezTo>
                  <a:pt x="475572" y="434225"/>
                  <a:pt x="476969" y="432864"/>
                  <a:pt x="478385" y="431522"/>
                </a:cubicBezTo>
                <a:lnTo>
                  <a:pt x="498424" y="452444"/>
                </a:lnTo>
                <a:cubicBezTo>
                  <a:pt x="497045" y="453767"/>
                  <a:pt x="495666" y="455073"/>
                  <a:pt x="494306" y="456396"/>
                </a:cubicBezTo>
                <a:close/>
                <a:moveTo>
                  <a:pt x="2596855" y="442976"/>
                </a:moveTo>
                <a:cubicBezTo>
                  <a:pt x="2595477" y="441670"/>
                  <a:pt x="2594079" y="440365"/>
                  <a:pt x="2592682" y="439060"/>
                </a:cubicBezTo>
                <a:lnTo>
                  <a:pt x="2612464" y="417881"/>
                </a:lnTo>
                <a:cubicBezTo>
                  <a:pt x="2613879" y="419204"/>
                  <a:pt x="2615313" y="420547"/>
                  <a:pt x="2616729" y="421870"/>
                </a:cubicBezTo>
                <a:lnTo>
                  <a:pt x="2596855" y="442957"/>
                </a:lnTo>
                <a:close/>
                <a:moveTo>
                  <a:pt x="508811" y="442608"/>
                </a:moveTo>
                <a:lnTo>
                  <a:pt x="488974" y="421484"/>
                </a:lnTo>
                <a:cubicBezTo>
                  <a:pt x="490390" y="420160"/>
                  <a:pt x="491805" y="418818"/>
                  <a:pt x="493221" y="417495"/>
                </a:cubicBezTo>
                <a:lnTo>
                  <a:pt x="512984" y="438692"/>
                </a:lnTo>
                <a:cubicBezTo>
                  <a:pt x="511587" y="439997"/>
                  <a:pt x="510190" y="441303"/>
                  <a:pt x="508811" y="442608"/>
                </a:cubicBezTo>
                <a:close/>
                <a:moveTo>
                  <a:pt x="2582185" y="429334"/>
                </a:moveTo>
                <a:cubicBezTo>
                  <a:pt x="2580787" y="428047"/>
                  <a:pt x="2579372" y="426761"/>
                  <a:pt x="2577956" y="425474"/>
                </a:cubicBezTo>
                <a:lnTo>
                  <a:pt x="2597444" y="404037"/>
                </a:lnTo>
                <a:cubicBezTo>
                  <a:pt x="2598878" y="405343"/>
                  <a:pt x="2600330" y="406666"/>
                  <a:pt x="2601764" y="407972"/>
                </a:cubicBezTo>
                <a:lnTo>
                  <a:pt x="2582185" y="429334"/>
                </a:lnTo>
                <a:close/>
                <a:moveTo>
                  <a:pt x="523482" y="428985"/>
                </a:moveTo>
                <a:lnTo>
                  <a:pt x="503921" y="407604"/>
                </a:lnTo>
                <a:cubicBezTo>
                  <a:pt x="505355" y="406299"/>
                  <a:pt x="506789" y="404993"/>
                  <a:pt x="508223" y="403670"/>
                </a:cubicBezTo>
                <a:lnTo>
                  <a:pt x="527710" y="425124"/>
                </a:lnTo>
                <a:cubicBezTo>
                  <a:pt x="526295" y="426411"/>
                  <a:pt x="524879" y="427698"/>
                  <a:pt x="523482" y="428985"/>
                </a:cubicBezTo>
                <a:close/>
                <a:moveTo>
                  <a:pt x="2567311" y="415895"/>
                </a:moveTo>
                <a:cubicBezTo>
                  <a:pt x="2565896" y="414627"/>
                  <a:pt x="2564462" y="413358"/>
                  <a:pt x="2563028" y="412090"/>
                </a:cubicBezTo>
                <a:lnTo>
                  <a:pt x="2582221" y="390396"/>
                </a:lnTo>
                <a:cubicBezTo>
                  <a:pt x="2583674" y="391683"/>
                  <a:pt x="2585126" y="392988"/>
                  <a:pt x="2586578" y="394275"/>
                </a:cubicBezTo>
                <a:lnTo>
                  <a:pt x="2567293" y="415895"/>
                </a:lnTo>
                <a:close/>
                <a:moveTo>
                  <a:pt x="538355" y="415564"/>
                </a:moveTo>
                <a:lnTo>
                  <a:pt x="519088" y="393926"/>
                </a:lnTo>
                <a:cubicBezTo>
                  <a:pt x="520540" y="392639"/>
                  <a:pt x="521993" y="391352"/>
                  <a:pt x="523445" y="390065"/>
                </a:cubicBezTo>
                <a:lnTo>
                  <a:pt x="542639" y="411759"/>
                </a:lnTo>
                <a:cubicBezTo>
                  <a:pt x="541205" y="413027"/>
                  <a:pt x="539789" y="414296"/>
                  <a:pt x="538355" y="415564"/>
                </a:cubicBezTo>
                <a:close/>
                <a:moveTo>
                  <a:pt x="2552254" y="402640"/>
                </a:moveTo>
                <a:cubicBezTo>
                  <a:pt x="2550820" y="401390"/>
                  <a:pt x="2549368" y="400140"/>
                  <a:pt x="2547934" y="398890"/>
                </a:cubicBezTo>
                <a:lnTo>
                  <a:pt x="2566852" y="376938"/>
                </a:lnTo>
                <a:cubicBezTo>
                  <a:pt x="2568322" y="378207"/>
                  <a:pt x="2569793" y="379475"/>
                  <a:pt x="2571264" y="380762"/>
                </a:cubicBezTo>
                <a:lnTo>
                  <a:pt x="2552254" y="402622"/>
                </a:lnTo>
                <a:close/>
                <a:moveTo>
                  <a:pt x="553394" y="402346"/>
                </a:moveTo>
                <a:lnTo>
                  <a:pt x="534402" y="380468"/>
                </a:lnTo>
                <a:cubicBezTo>
                  <a:pt x="535873" y="379181"/>
                  <a:pt x="537362" y="377913"/>
                  <a:pt x="538833" y="376644"/>
                </a:cubicBezTo>
                <a:lnTo>
                  <a:pt x="557732" y="398614"/>
                </a:lnTo>
                <a:cubicBezTo>
                  <a:pt x="556280" y="399864"/>
                  <a:pt x="554828" y="401114"/>
                  <a:pt x="553394" y="402364"/>
                </a:cubicBezTo>
                <a:close/>
                <a:moveTo>
                  <a:pt x="2537050" y="389605"/>
                </a:moveTo>
                <a:cubicBezTo>
                  <a:pt x="2535598" y="388374"/>
                  <a:pt x="2534127" y="387142"/>
                  <a:pt x="2532675" y="385910"/>
                </a:cubicBezTo>
                <a:lnTo>
                  <a:pt x="2551298" y="363702"/>
                </a:lnTo>
                <a:cubicBezTo>
                  <a:pt x="2552788" y="364952"/>
                  <a:pt x="2554277" y="366202"/>
                  <a:pt x="2555766" y="367470"/>
                </a:cubicBezTo>
                <a:lnTo>
                  <a:pt x="2537069" y="389605"/>
                </a:lnTo>
                <a:close/>
                <a:moveTo>
                  <a:pt x="568671" y="389274"/>
                </a:moveTo>
                <a:lnTo>
                  <a:pt x="549974" y="367139"/>
                </a:lnTo>
                <a:cubicBezTo>
                  <a:pt x="551463" y="365871"/>
                  <a:pt x="552952" y="364621"/>
                  <a:pt x="554460" y="363371"/>
                </a:cubicBezTo>
                <a:lnTo>
                  <a:pt x="573065" y="385579"/>
                </a:lnTo>
                <a:cubicBezTo>
                  <a:pt x="571594" y="386811"/>
                  <a:pt x="570142" y="388043"/>
                  <a:pt x="568671" y="389274"/>
                </a:cubicBezTo>
                <a:close/>
                <a:moveTo>
                  <a:pt x="2521644" y="376755"/>
                </a:moveTo>
                <a:cubicBezTo>
                  <a:pt x="2520173" y="375541"/>
                  <a:pt x="2518684" y="374328"/>
                  <a:pt x="2517213" y="373114"/>
                </a:cubicBezTo>
                <a:lnTo>
                  <a:pt x="2535543" y="350685"/>
                </a:lnTo>
                <a:cubicBezTo>
                  <a:pt x="2537050" y="351917"/>
                  <a:pt x="2538558" y="353149"/>
                  <a:pt x="2540047" y="354381"/>
                </a:cubicBezTo>
                <a:lnTo>
                  <a:pt x="2521644" y="376755"/>
                </a:lnTo>
                <a:close/>
                <a:moveTo>
                  <a:pt x="584114" y="376405"/>
                </a:moveTo>
                <a:lnTo>
                  <a:pt x="565711" y="354013"/>
                </a:lnTo>
                <a:cubicBezTo>
                  <a:pt x="567219" y="352781"/>
                  <a:pt x="568726" y="351531"/>
                  <a:pt x="570252" y="350299"/>
                </a:cubicBezTo>
                <a:lnTo>
                  <a:pt x="588563" y="372765"/>
                </a:lnTo>
                <a:cubicBezTo>
                  <a:pt x="587074" y="373978"/>
                  <a:pt x="585603" y="375192"/>
                  <a:pt x="584114" y="376405"/>
                </a:cubicBezTo>
                <a:close/>
                <a:moveTo>
                  <a:pt x="2506072" y="364124"/>
                </a:moveTo>
                <a:cubicBezTo>
                  <a:pt x="2504583" y="362929"/>
                  <a:pt x="2503094" y="361734"/>
                  <a:pt x="2501605" y="360558"/>
                </a:cubicBezTo>
                <a:lnTo>
                  <a:pt x="2519640" y="337871"/>
                </a:lnTo>
                <a:cubicBezTo>
                  <a:pt x="2521166" y="339085"/>
                  <a:pt x="2522692" y="340298"/>
                  <a:pt x="2524200" y="341511"/>
                </a:cubicBezTo>
                <a:lnTo>
                  <a:pt x="2506091" y="364124"/>
                </a:lnTo>
                <a:close/>
                <a:moveTo>
                  <a:pt x="599723" y="363738"/>
                </a:moveTo>
                <a:lnTo>
                  <a:pt x="581632" y="341107"/>
                </a:lnTo>
                <a:cubicBezTo>
                  <a:pt x="583158" y="339894"/>
                  <a:pt x="584684" y="338680"/>
                  <a:pt x="586210" y="337467"/>
                </a:cubicBezTo>
                <a:lnTo>
                  <a:pt x="604227" y="360153"/>
                </a:lnTo>
                <a:cubicBezTo>
                  <a:pt x="602719" y="361348"/>
                  <a:pt x="601230" y="362543"/>
                  <a:pt x="599741" y="363738"/>
                </a:cubicBezTo>
                <a:close/>
                <a:moveTo>
                  <a:pt x="2490335" y="351678"/>
                </a:moveTo>
                <a:cubicBezTo>
                  <a:pt x="2488828" y="350501"/>
                  <a:pt x="2487320" y="349325"/>
                  <a:pt x="2485813" y="348167"/>
                </a:cubicBezTo>
                <a:lnTo>
                  <a:pt x="2503535" y="325259"/>
                </a:lnTo>
                <a:cubicBezTo>
                  <a:pt x="2505080" y="326454"/>
                  <a:pt x="2506605" y="327649"/>
                  <a:pt x="2508150" y="328844"/>
                </a:cubicBezTo>
                <a:lnTo>
                  <a:pt x="2490335" y="351696"/>
                </a:lnTo>
                <a:close/>
                <a:moveTo>
                  <a:pt x="615515" y="351292"/>
                </a:moveTo>
                <a:lnTo>
                  <a:pt x="597719" y="328422"/>
                </a:lnTo>
                <a:cubicBezTo>
                  <a:pt x="599263" y="327227"/>
                  <a:pt x="600807" y="326032"/>
                  <a:pt x="602352" y="324837"/>
                </a:cubicBezTo>
                <a:lnTo>
                  <a:pt x="620056" y="347762"/>
                </a:lnTo>
                <a:cubicBezTo>
                  <a:pt x="618530" y="348939"/>
                  <a:pt x="617022" y="350115"/>
                  <a:pt x="615515" y="351274"/>
                </a:cubicBezTo>
                <a:close/>
                <a:moveTo>
                  <a:pt x="2474432" y="339452"/>
                </a:moveTo>
                <a:cubicBezTo>
                  <a:pt x="2472907" y="338294"/>
                  <a:pt x="2471381" y="337154"/>
                  <a:pt x="2469855" y="335996"/>
                </a:cubicBezTo>
                <a:lnTo>
                  <a:pt x="2487283" y="312850"/>
                </a:lnTo>
                <a:cubicBezTo>
                  <a:pt x="2488846" y="314026"/>
                  <a:pt x="2490390" y="315203"/>
                  <a:pt x="2491953" y="316380"/>
                </a:cubicBezTo>
                <a:lnTo>
                  <a:pt x="2474432" y="339471"/>
                </a:lnTo>
                <a:close/>
                <a:moveTo>
                  <a:pt x="631473" y="339048"/>
                </a:moveTo>
                <a:lnTo>
                  <a:pt x="613989" y="315957"/>
                </a:lnTo>
                <a:cubicBezTo>
                  <a:pt x="615552" y="314780"/>
                  <a:pt x="617096" y="313604"/>
                  <a:pt x="618659" y="312427"/>
                </a:cubicBezTo>
                <a:lnTo>
                  <a:pt x="636069" y="335592"/>
                </a:lnTo>
                <a:cubicBezTo>
                  <a:pt x="634543" y="336750"/>
                  <a:pt x="633017" y="337890"/>
                  <a:pt x="631491" y="339048"/>
                </a:cubicBezTo>
                <a:close/>
                <a:moveTo>
                  <a:pt x="2458383" y="327429"/>
                </a:moveTo>
                <a:cubicBezTo>
                  <a:pt x="2456839" y="326289"/>
                  <a:pt x="2455294" y="325167"/>
                  <a:pt x="2453750" y="324028"/>
                </a:cubicBezTo>
                <a:lnTo>
                  <a:pt x="2470866" y="300643"/>
                </a:lnTo>
                <a:cubicBezTo>
                  <a:pt x="2472429" y="301782"/>
                  <a:pt x="2474010" y="302941"/>
                  <a:pt x="2475573" y="304099"/>
                </a:cubicBezTo>
                <a:lnTo>
                  <a:pt x="2458383" y="327410"/>
                </a:lnTo>
                <a:close/>
                <a:moveTo>
                  <a:pt x="647578" y="327006"/>
                </a:moveTo>
                <a:lnTo>
                  <a:pt x="630388" y="303676"/>
                </a:lnTo>
                <a:cubicBezTo>
                  <a:pt x="631951" y="302518"/>
                  <a:pt x="633532" y="301360"/>
                  <a:pt x="635113" y="300220"/>
                </a:cubicBezTo>
                <a:lnTo>
                  <a:pt x="652211" y="323605"/>
                </a:lnTo>
                <a:cubicBezTo>
                  <a:pt x="650666" y="324726"/>
                  <a:pt x="649122" y="325866"/>
                  <a:pt x="647578" y="327006"/>
                </a:cubicBezTo>
                <a:close/>
                <a:moveTo>
                  <a:pt x="2442149" y="315626"/>
                </a:moveTo>
                <a:cubicBezTo>
                  <a:pt x="2440605" y="314504"/>
                  <a:pt x="2439042" y="313401"/>
                  <a:pt x="2437480" y="312298"/>
                </a:cubicBezTo>
                <a:lnTo>
                  <a:pt x="2454283" y="288693"/>
                </a:lnTo>
                <a:cubicBezTo>
                  <a:pt x="2455864" y="289814"/>
                  <a:pt x="2457445" y="290954"/>
                  <a:pt x="2459026" y="292094"/>
                </a:cubicBezTo>
                <a:lnTo>
                  <a:pt x="2442131" y="315626"/>
                </a:lnTo>
                <a:close/>
                <a:moveTo>
                  <a:pt x="663848" y="315185"/>
                </a:moveTo>
                <a:lnTo>
                  <a:pt x="646971" y="291634"/>
                </a:lnTo>
                <a:cubicBezTo>
                  <a:pt x="648552" y="290494"/>
                  <a:pt x="650133" y="289373"/>
                  <a:pt x="651733" y="288233"/>
                </a:cubicBezTo>
                <a:lnTo>
                  <a:pt x="668536" y="311839"/>
                </a:lnTo>
                <a:cubicBezTo>
                  <a:pt x="666973" y="312942"/>
                  <a:pt x="665411" y="314063"/>
                  <a:pt x="663848" y="315185"/>
                </a:cubicBezTo>
                <a:close/>
                <a:moveTo>
                  <a:pt x="2425769" y="304025"/>
                </a:moveTo>
                <a:cubicBezTo>
                  <a:pt x="2424206" y="302941"/>
                  <a:pt x="2422625" y="301837"/>
                  <a:pt x="2421062" y="300753"/>
                </a:cubicBezTo>
                <a:lnTo>
                  <a:pt x="2437553" y="276926"/>
                </a:lnTo>
                <a:cubicBezTo>
                  <a:pt x="2439153" y="278030"/>
                  <a:pt x="2440752" y="279151"/>
                  <a:pt x="2442351" y="280254"/>
                </a:cubicBezTo>
                <a:lnTo>
                  <a:pt x="2425769" y="304007"/>
                </a:lnTo>
                <a:close/>
                <a:moveTo>
                  <a:pt x="680265" y="303584"/>
                </a:moveTo>
                <a:lnTo>
                  <a:pt x="663701" y="279813"/>
                </a:lnTo>
                <a:cubicBezTo>
                  <a:pt x="665300" y="278691"/>
                  <a:pt x="666900" y="277588"/>
                  <a:pt x="668518" y="276467"/>
                </a:cubicBezTo>
                <a:lnTo>
                  <a:pt x="684990" y="300312"/>
                </a:lnTo>
                <a:cubicBezTo>
                  <a:pt x="683409" y="301396"/>
                  <a:pt x="681846" y="302499"/>
                  <a:pt x="680265" y="303584"/>
                </a:cubicBezTo>
                <a:close/>
                <a:moveTo>
                  <a:pt x="2409241" y="292645"/>
                </a:moveTo>
                <a:cubicBezTo>
                  <a:pt x="2407660" y="291579"/>
                  <a:pt x="2406079" y="290494"/>
                  <a:pt x="2404479" y="289428"/>
                </a:cubicBezTo>
                <a:lnTo>
                  <a:pt x="2420658" y="265399"/>
                </a:lnTo>
                <a:cubicBezTo>
                  <a:pt x="2422275" y="266484"/>
                  <a:pt x="2423875" y="267569"/>
                  <a:pt x="2425493" y="268672"/>
                </a:cubicBezTo>
                <a:lnTo>
                  <a:pt x="2409222" y="292645"/>
                </a:lnTo>
                <a:close/>
                <a:moveTo>
                  <a:pt x="696848" y="292204"/>
                </a:moveTo>
                <a:lnTo>
                  <a:pt x="680596" y="268212"/>
                </a:lnTo>
                <a:cubicBezTo>
                  <a:pt x="682214" y="267127"/>
                  <a:pt x="683832" y="266024"/>
                  <a:pt x="685450" y="264940"/>
                </a:cubicBezTo>
                <a:lnTo>
                  <a:pt x="701610" y="288987"/>
                </a:lnTo>
                <a:cubicBezTo>
                  <a:pt x="700029" y="290053"/>
                  <a:pt x="698429" y="291119"/>
                  <a:pt x="696848" y="292204"/>
                </a:cubicBezTo>
                <a:close/>
                <a:moveTo>
                  <a:pt x="2392566" y="281486"/>
                </a:moveTo>
                <a:cubicBezTo>
                  <a:pt x="2390967" y="280438"/>
                  <a:pt x="2389367" y="279390"/>
                  <a:pt x="2387768" y="278342"/>
                </a:cubicBezTo>
                <a:lnTo>
                  <a:pt x="2403634" y="254093"/>
                </a:lnTo>
                <a:cubicBezTo>
                  <a:pt x="2405270" y="255159"/>
                  <a:pt x="2406888" y="256225"/>
                  <a:pt x="2408524" y="257292"/>
                </a:cubicBezTo>
                <a:lnTo>
                  <a:pt x="2392566" y="281486"/>
                </a:lnTo>
                <a:close/>
                <a:moveTo>
                  <a:pt x="713578" y="281045"/>
                </a:moveTo>
                <a:lnTo>
                  <a:pt x="697657" y="256851"/>
                </a:lnTo>
                <a:cubicBezTo>
                  <a:pt x="699293" y="255784"/>
                  <a:pt x="700911" y="254718"/>
                  <a:pt x="702547" y="253633"/>
                </a:cubicBezTo>
                <a:lnTo>
                  <a:pt x="718395" y="277901"/>
                </a:lnTo>
                <a:cubicBezTo>
                  <a:pt x="716796" y="278949"/>
                  <a:pt x="715196" y="279997"/>
                  <a:pt x="713596" y="281045"/>
                </a:cubicBezTo>
                <a:close/>
                <a:moveTo>
                  <a:pt x="2375726" y="270547"/>
                </a:moveTo>
                <a:cubicBezTo>
                  <a:pt x="2374108" y="269517"/>
                  <a:pt x="2372509" y="268488"/>
                  <a:pt x="2370891" y="267458"/>
                </a:cubicBezTo>
                <a:lnTo>
                  <a:pt x="2386426" y="243007"/>
                </a:lnTo>
                <a:cubicBezTo>
                  <a:pt x="2388062" y="244055"/>
                  <a:pt x="2389716" y="245103"/>
                  <a:pt x="2391353" y="246151"/>
                </a:cubicBezTo>
                <a:lnTo>
                  <a:pt x="2375726" y="270547"/>
                </a:lnTo>
                <a:close/>
                <a:moveTo>
                  <a:pt x="730437" y="270106"/>
                </a:moveTo>
                <a:lnTo>
                  <a:pt x="714828" y="245691"/>
                </a:lnTo>
                <a:cubicBezTo>
                  <a:pt x="716464" y="244643"/>
                  <a:pt x="718119" y="243595"/>
                  <a:pt x="719774" y="242547"/>
                </a:cubicBezTo>
                <a:lnTo>
                  <a:pt x="735290" y="267017"/>
                </a:lnTo>
                <a:cubicBezTo>
                  <a:pt x="733673" y="268047"/>
                  <a:pt x="732055" y="269076"/>
                  <a:pt x="730437" y="270106"/>
                </a:cubicBezTo>
                <a:close/>
                <a:moveTo>
                  <a:pt x="2358757" y="259829"/>
                </a:moveTo>
                <a:cubicBezTo>
                  <a:pt x="2357139" y="258818"/>
                  <a:pt x="2355503" y="257807"/>
                  <a:pt x="2353885" y="256814"/>
                </a:cubicBezTo>
                <a:lnTo>
                  <a:pt x="2369107" y="232160"/>
                </a:lnTo>
                <a:cubicBezTo>
                  <a:pt x="2370762" y="233190"/>
                  <a:pt x="2372417" y="234201"/>
                  <a:pt x="2374071" y="235230"/>
                </a:cubicBezTo>
                <a:lnTo>
                  <a:pt x="2358757" y="259829"/>
                </a:lnTo>
                <a:close/>
                <a:moveTo>
                  <a:pt x="747461" y="259388"/>
                </a:moveTo>
                <a:lnTo>
                  <a:pt x="732183" y="234771"/>
                </a:lnTo>
                <a:cubicBezTo>
                  <a:pt x="733838" y="233741"/>
                  <a:pt x="735493" y="232712"/>
                  <a:pt x="737166" y="231700"/>
                </a:cubicBezTo>
                <a:lnTo>
                  <a:pt x="752370" y="256373"/>
                </a:lnTo>
                <a:cubicBezTo>
                  <a:pt x="750733" y="257384"/>
                  <a:pt x="749115" y="258395"/>
                  <a:pt x="747479" y="259406"/>
                </a:cubicBezTo>
                <a:close/>
                <a:moveTo>
                  <a:pt x="2341641" y="249331"/>
                </a:moveTo>
                <a:cubicBezTo>
                  <a:pt x="2340005" y="248338"/>
                  <a:pt x="2338369" y="247364"/>
                  <a:pt x="2336732" y="246371"/>
                </a:cubicBezTo>
                <a:lnTo>
                  <a:pt x="2351624" y="221515"/>
                </a:lnTo>
                <a:cubicBezTo>
                  <a:pt x="2353297" y="222508"/>
                  <a:pt x="2354970" y="223519"/>
                  <a:pt x="2356624" y="224530"/>
                </a:cubicBezTo>
                <a:lnTo>
                  <a:pt x="2341641" y="249331"/>
                </a:lnTo>
                <a:close/>
                <a:moveTo>
                  <a:pt x="764614" y="248890"/>
                </a:moveTo>
                <a:lnTo>
                  <a:pt x="749649" y="224071"/>
                </a:lnTo>
                <a:cubicBezTo>
                  <a:pt x="751322" y="223060"/>
                  <a:pt x="752995" y="222049"/>
                  <a:pt x="754668" y="221056"/>
                </a:cubicBezTo>
                <a:lnTo>
                  <a:pt x="769522" y="245930"/>
                </a:lnTo>
                <a:cubicBezTo>
                  <a:pt x="767886" y="246904"/>
                  <a:pt x="766231" y="247897"/>
                  <a:pt x="764595" y="248890"/>
                </a:cubicBezTo>
                <a:close/>
                <a:moveTo>
                  <a:pt x="2324378" y="239073"/>
                </a:moveTo>
                <a:cubicBezTo>
                  <a:pt x="2322723" y="238098"/>
                  <a:pt x="2321087" y="237142"/>
                  <a:pt x="2319432" y="236186"/>
                </a:cubicBezTo>
                <a:lnTo>
                  <a:pt x="2333993" y="211128"/>
                </a:lnTo>
                <a:cubicBezTo>
                  <a:pt x="2335684" y="212103"/>
                  <a:pt x="2337357" y="213095"/>
                  <a:pt x="2339049" y="214088"/>
                </a:cubicBezTo>
                <a:lnTo>
                  <a:pt x="2324396" y="239073"/>
                </a:lnTo>
                <a:close/>
                <a:moveTo>
                  <a:pt x="781895" y="238613"/>
                </a:moveTo>
                <a:lnTo>
                  <a:pt x="767261" y="213610"/>
                </a:lnTo>
                <a:cubicBezTo>
                  <a:pt x="768952" y="212617"/>
                  <a:pt x="770625" y="211643"/>
                  <a:pt x="772317" y="210669"/>
                </a:cubicBezTo>
                <a:lnTo>
                  <a:pt x="786859" y="235727"/>
                </a:lnTo>
                <a:cubicBezTo>
                  <a:pt x="785204" y="236683"/>
                  <a:pt x="783550" y="237657"/>
                  <a:pt x="781895" y="238613"/>
                </a:cubicBezTo>
                <a:close/>
                <a:moveTo>
                  <a:pt x="2306986" y="229016"/>
                </a:moveTo>
                <a:cubicBezTo>
                  <a:pt x="2305331" y="228079"/>
                  <a:pt x="2303659" y="227141"/>
                  <a:pt x="2302004" y="226203"/>
                </a:cubicBezTo>
                <a:lnTo>
                  <a:pt x="2316233" y="200961"/>
                </a:lnTo>
                <a:cubicBezTo>
                  <a:pt x="2317943" y="201917"/>
                  <a:pt x="2319635" y="202892"/>
                  <a:pt x="2321326" y="203848"/>
                </a:cubicBezTo>
                <a:lnTo>
                  <a:pt x="2306986" y="229016"/>
                </a:lnTo>
                <a:close/>
                <a:moveTo>
                  <a:pt x="799324" y="228575"/>
                </a:moveTo>
                <a:lnTo>
                  <a:pt x="785021" y="203370"/>
                </a:lnTo>
                <a:cubicBezTo>
                  <a:pt x="786712" y="202414"/>
                  <a:pt x="788422" y="201439"/>
                  <a:pt x="790113" y="200483"/>
                </a:cubicBezTo>
                <a:lnTo>
                  <a:pt x="804324" y="225725"/>
                </a:lnTo>
                <a:cubicBezTo>
                  <a:pt x="802651" y="226663"/>
                  <a:pt x="800978" y="227601"/>
                  <a:pt x="799324" y="228557"/>
                </a:cubicBezTo>
                <a:close/>
                <a:moveTo>
                  <a:pt x="2289465" y="219217"/>
                </a:moveTo>
                <a:cubicBezTo>
                  <a:pt x="2287793" y="218298"/>
                  <a:pt x="2286120" y="217379"/>
                  <a:pt x="2284428" y="216460"/>
                </a:cubicBezTo>
                <a:lnTo>
                  <a:pt x="2298327" y="191034"/>
                </a:lnTo>
                <a:cubicBezTo>
                  <a:pt x="2300037" y="191971"/>
                  <a:pt x="2301746" y="192909"/>
                  <a:pt x="2303456" y="193847"/>
                </a:cubicBezTo>
                <a:lnTo>
                  <a:pt x="2289465" y="219217"/>
                </a:lnTo>
                <a:close/>
                <a:moveTo>
                  <a:pt x="816881" y="218758"/>
                </a:moveTo>
                <a:lnTo>
                  <a:pt x="802890" y="193387"/>
                </a:lnTo>
                <a:cubicBezTo>
                  <a:pt x="804600" y="192449"/>
                  <a:pt x="806292" y="191512"/>
                  <a:pt x="808001" y="190574"/>
                </a:cubicBezTo>
                <a:lnTo>
                  <a:pt x="821882" y="216000"/>
                </a:lnTo>
                <a:cubicBezTo>
                  <a:pt x="820209" y="216919"/>
                  <a:pt x="818536" y="217820"/>
                  <a:pt x="816863" y="218739"/>
                </a:cubicBezTo>
                <a:close/>
                <a:moveTo>
                  <a:pt x="2271816" y="209639"/>
                </a:moveTo>
                <a:cubicBezTo>
                  <a:pt x="2270125" y="208738"/>
                  <a:pt x="2268434" y="207837"/>
                  <a:pt x="2266761" y="206936"/>
                </a:cubicBezTo>
                <a:lnTo>
                  <a:pt x="2280310" y="181327"/>
                </a:lnTo>
                <a:cubicBezTo>
                  <a:pt x="2282038" y="182246"/>
                  <a:pt x="2283748" y="183147"/>
                  <a:pt x="2285476" y="184066"/>
                </a:cubicBezTo>
                <a:lnTo>
                  <a:pt x="2271816" y="209621"/>
                </a:lnTo>
                <a:close/>
                <a:moveTo>
                  <a:pt x="834493" y="209198"/>
                </a:moveTo>
                <a:lnTo>
                  <a:pt x="820852" y="183643"/>
                </a:lnTo>
                <a:cubicBezTo>
                  <a:pt x="822562" y="182724"/>
                  <a:pt x="824290" y="181823"/>
                  <a:pt x="826000" y="180904"/>
                </a:cubicBezTo>
                <a:lnTo>
                  <a:pt x="839549" y="206514"/>
                </a:lnTo>
                <a:cubicBezTo>
                  <a:pt x="837858" y="207414"/>
                  <a:pt x="836166" y="208297"/>
                  <a:pt x="834493" y="209198"/>
                </a:cubicBezTo>
                <a:close/>
                <a:moveTo>
                  <a:pt x="2254039" y="200281"/>
                </a:moveTo>
                <a:cubicBezTo>
                  <a:pt x="2252347" y="199399"/>
                  <a:pt x="2250637" y="198535"/>
                  <a:pt x="2248928" y="197652"/>
                </a:cubicBezTo>
                <a:lnTo>
                  <a:pt x="2262146" y="171877"/>
                </a:lnTo>
                <a:cubicBezTo>
                  <a:pt x="2263874" y="172760"/>
                  <a:pt x="2265621" y="173660"/>
                  <a:pt x="2267349" y="174561"/>
                </a:cubicBezTo>
                <a:lnTo>
                  <a:pt x="2254039" y="200300"/>
                </a:lnTo>
                <a:close/>
                <a:moveTo>
                  <a:pt x="852253" y="199858"/>
                </a:moveTo>
                <a:lnTo>
                  <a:pt x="838942" y="174120"/>
                </a:lnTo>
                <a:cubicBezTo>
                  <a:pt x="840671" y="173219"/>
                  <a:pt x="842399" y="172337"/>
                  <a:pt x="844145" y="171436"/>
                </a:cubicBezTo>
                <a:lnTo>
                  <a:pt x="857364" y="197211"/>
                </a:lnTo>
                <a:cubicBezTo>
                  <a:pt x="855654" y="198094"/>
                  <a:pt x="853963" y="198958"/>
                  <a:pt x="852253" y="199840"/>
                </a:cubicBezTo>
                <a:close/>
                <a:moveTo>
                  <a:pt x="2236132" y="191163"/>
                </a:moveTo>
                <a:cubicBezTo>
                  <a:pt x="2234422" y="190298"/>
                  <a:pt x="2232712" y="189453"/>
                  <a:pt x="2231003" y="188607"/>
                </a:cubicBezTo>
                <a:lnTo>
                  <a:pt x="2243890" y="162648"/>
                </a:lnTo>
                <a:cubicBezTo>
                  <a:pt x="2245637" y="163512"/>
                  <a:pt x="2247383" y="164395"/>
                  <a:pt x="2249130" y="165259"/>
                </a:cubicBezTo>
                <a:lnTo>
                  <a:pt x="2236150" y="191163"/>
                </a:lnTo>
                <a:close/>
                <a:moveTo>
                  <a:pt x="870178" y="190740"/>
                </a:moveTo>
                <a:lnTo>
                  <a:pt x="857198" y="164836"/>
                </a:lnTo>
                <a:lnTo>
                  <a:pt x="858871" y="163990"/>
                </a:lnTo>
                <a:cubicBezTo>
                  <a:pt x="860618" y="163108"/>
                  <a:pt x="862383" y="162244"/>
                  <a:pt x="864129" y="161380"/>
                </a:cubicBezTo>
                <a:lnTo>
                  <a:pt x="876980" y="187357"/>
                </a:lnTo>
                <a:cubicBezTo>
                  <a:pt x="875252" y="188203"/>
                  <a:pt x="873542" y="189067"/>
                  <a:pt x="871832" y="189912"/>
                </a:cubicBezTo>
                <a:lnTo>
                  <a:pt x="870178" y="190740"/>
                </a:lnTo>
                <a:close/>
                <a:moveTo>
                  <a:pt x="2218115" y="182283"/>
                </a:moveTo>
                <a:cubicBezTo>
                  <a:pt x="2216387" y="181455"/>
                  <a:pt x="2214677" y="180610"/>
                  <a:pt x="2212949" y="179782"/>
                </a:cubicBezTo>
                <a:lnTo>
                  <a:pt x="2225487" y="153658"/>
                </a:lnTo>
                <a:cubicBezTo>
                  <a:pt x="2227252" y="154504"/>
                  <a:pt x="2228999" y="155349"/>
                  <a:pt x="2230764" y="156195"/>
                </a:cubicBezTo>
                <a:lnTo>
                  <a:pt x="2218115" y="182264"/>
                </a:lnTo>
                <a:close/>
                <a:moveTo>
                  <a:pt x="889923" y="181014"/>
                </a:moveTo>
                <a:lnTo>
                  <a:pt x="877311" y="154927"/>
                </a:lnTo>
                <a:cubicBezTo>
                  <a:pt x="879076" y="154081"/>
                  <a:pt x="880841" y="153217"/>
                  <a:pt x="882606" y="152371"/>
                </a:cubicBezTo>
                <a:lnTo>
                  <a:pt x="895126" y="178514"/>
                </a:lnTo>
                <a:cubicBezTo>
                  <a:pt x="893398" y="179341"/>
                  <a:pt x="891669" y="180169"/>
                  <a:pt x="889941" y="181014"/>
                </a:cubicBezTo>
                <a:close/>
                <a:moveTo>
                  <a:pt x="2199970" y="173642"/>
                </a:moveTo>
                <a:cubicBezTo>
                  <a:pt x="2198241" y="172833"/>
                  <a:pt x="2196495" y="172024"/>
                  <a:pt x="2194767" y="171215"/>
                </a:cubicBezTo>
                <a:lnTo>
                  <a:pt x="2206956" y="144925"/>
                </a:lnTo>
                <a:cubicBezTo>
                  <a:pt x="2208721" y="145753"/>
                  <a:pt x="2210485" y="146562"/>
                  <a:pt x="2212250" y="147389"/>
                </a:cubicBezTo>
                <a:lnTo>
                  <a:pt x="2199951" y="173624"/>
                </a:lnTo>
                <a:close/>
                <a:moveTo>
                  <a:pt x="908123" y="172355"/>
                </a:moveTo>
                <a:lnTo>
                  <a:pt x="895861" y="146102"/>
                </a:lnTo>
                <a:cubicBezTo>
                  <a:pt x="897626" y="145275"/>
                  <a:pt x="899409" y="144447"/>
                  <a:pt x="901174" y="143620"/>
                </a:cubicBezTo>
                <a:lnTo>
                  <a:pt x="913363" y="169910"/>
                </a:lnTo>
                <a:cubicBezTo>
                  <a:pt x="911617" y="170719"/>
                  <a:pt x="909870" y="171528"/>
                  <a:pt x="908142" y="172337"/>
                </a:cubicBezTo>
                <a:close/>
                <a:moveTo>
                  <a:pt x="2181732" y="165222"/>
                </a:moveTo>
                <a:cubicBezTo>
                  <a:pt x="2179986" y="164431"/>
                  <a:pt x="2178239" y="163641"/>
                  <a:pt x="2176492" y="162869"/>
                </a:cubicBezTo>
                <a:lnTo>
                  <a:pt x="2188350" y="136432"/>
                </a:lnTo>
                <a:cubicBezTo>
                  <a:pt x="2190134" y="137222"/>
                  <a:pt x="2191899" y="138031"/>
                  <a:pt x="2193682" y="138840"/>
                </a:cubicBezTo>
                <a:lnTo>
                  <a:pt x="2181732" y="165240"/>
                </a:lnTo>
                <a:close/>
                <a:moveTo>
                  <a:pt x="926453" y="163935"/>
                </a:moveTo>
                <a:lnTo>
                  <a:pt x="914521" y="137535"/>
                </a:lnTo>
                <a:cubicBezTo>
                  <a:pt x="916305" y="136726"/>
                  <a:pt x="918088" y="135917"/>
                  <a:pt x="919871" y="135126"/>
                </a:cubicBezTo>
                <a:lnTo>
                  <a:pt x="931692" y="161582"/>
                </a:lnTo>
                <a:cubicBezTo>
                  <a:pt x="929946" y="162372"/>
                  <a:pt x="928181" y="163144"/>
                  <a:pt x="926435" y="163935"/>
                </a:cubicBezTo>
                <a:close/>
                <a:moveTo>
                  <a:pt x="2163366" y="157059"/>
                </a:moveTo>
                <a:cubicBezTo>
                  <a:pt x="2161619" y="156287"/>
                  <a:pt x="2159854" y="155533"/>
                  <a:pt x="2158108" y="154761"/>
                </a:cubicBezTo>
                <a:lnTo>
                  <a:pt x="2169617" y="128177"/>
                </a:lnTo>
                <a:cubicBezTo>
                  <a:pt x="2171400" y="128949"/>
                  <a:pt x="2173202" y="129721"/>
                  <a:pt x="2174985" y="130512"/>
                </a:cubicBezTo>
                <a:lnTo>
                  <a:pt x="2163384" y="157059"/>
                </a:lnTo>
                <a:close/>
                <a:moveTo>
                  <a:pt x="944874" y="155754"/>
                </a:moveTo>
                <a:lnTo>
                  <a:pt x="933292" y="129188"/>
                </a:lnTo>
                <a:cubicBezTo>
                  <a:pt x="935094" y="128398"/>
                  <a:pt x="936877" y="127626"/>
                  <a:pt x="938679" y="126853"/>
                </a:cubicBezTo>
                <a:lnTo>
                  <a:pt x="950169" y="153456"/>
                </a:lnTo>
                <a:cubicBezTo>
                  <a:pt x="948404" y="154210"/>
                  <a:pt x="946639" y="154982"/>
                  <a:pt x="944874" y="155754"/>
                </a:cubicBezTo>
                <a:close/>
                <a:moveTo>
                  <a:pt x="2144889" y="149135"/>
                </a:moveTo>
                <a:cubicBezTo>
                  <a:pt x="2143124" y="148400"/>
                  <a:pt x="2141360" y="147646"/>
                  <a:pt x="2139595" y="146911"/>
                </a:cubicBezTo>
                <a:lnTo>
                  <a:pt x="2150754" y="120161"/>
                </a:lnTo>
                <a:cubicBezTo>
                  <a:pt x="2152556" y="120915"/>
                  <a:pt x="2154357" y="121669"/>
                  <a:pt x="2156159" y="122423"/>
                </a:cubicBezTo>
                <a:lnTo>
                  <a:pt x="2144908" y="149117"/>
                </a:lnTo>
                <a:close/>
                <a:moveTo>
                  <a:pt x="963406" y="147812"/>
                </a:moveTo>
                <a:lnTo>
                  <a:pt x="952173" y="121099"/>
                </a:lnTo>
                <a:cubicBezTo>
                  <a:pt x="953975" y="120345"/>
                  <a:pt x="955776" y="119591"/>
                  <a:pt x="957596" y="118838"/>
                </a:cubicBezTo>
                <a:lnTo>
                  <a:pt x="968737" y="145587"/>
                </a:lnTo>
                <a:cubicBezTo>
                  <a:pt x="966972" y="146323"/>
                  <a:pt x="965189" y="147058"/>
                  <a:pt x="963424" y="147812"/>
                </a:cubicBezTo>
                <a:close/>
                <a:moveTo>
                  <a:pt x="2126321" y="141451"/>
                </a:moveTo>
                <a:cubicBezTo>
                  <a:pt x="2124538" y="140734"/>
                  <a:pt x="2122773" y="140017"/>
                  <a:pt x="2120989" y="139300"/>
                </a:cubicBezTo>
                <a:lnTo>
                  <a:pt x="2131781" y="112422"/>
                </a:lnTo>
                <a:cubicBezTo>
                  <a:pt x="2133583" y="113157"/>
                  <a:pt x="2135403" y="113874"/>
                  <a:pt x="2137205" y="114609"/>
                </a:cubicBezTo>
                <a:lnTo>
                  <a:pt x="2126303" y="141451"/>
                </a:lnTo>
                <a:close/>
                <a:moveTo>
                  <a:pt x="982029" y="140127"/>
                </a:moveTo>
                <a:lnTo>
                  <a:pt x="971146" y="113267"/>
                </a:lnTo>
                <a:cubicBezTo>
                  <a:pt x="972966" y="112532"/>
                  <a:pt x="974767" y="111796"/>
                  <a:pt x="976588" y="111079"/>
                </a:cubicBezTo>
                <a:lnTo>
                  <a:pt x="987379" y="137976"/>
                </a:lnTo>
                <a:cubicBezTo>
                  <a:pt x="985596" y="138693"/>
                  <a:pt x="983813" y="139410"/>
                  <a:pt x="982029" y="140127"/>
                </a:cubicBezTo>
                <a:close/>
                <a:moveTo>
                  <a:pt x="2107642" y="134005"/>
                </a:moveTo>
                <a:cubicBezTo>
                  <a:pt x="2105859" y="133306"/>
                  <a:pt x="2104076" y="132608"/>
                  <a:pt x="2102292" y="131928"/>
                </a:cubicBezTo>
                <a:lnTo>
                  <a:pt x="2112735" y="104902"/>
                </a:lnTo>
                <a:cubicBezTo>
                  <a:pt x="2114555" y="105601"/>
                  <a:pt x="2116375" y="106318"/>
                  <a:pt x="2118195" y="107016"/>
                </a:cubicBezTo>
                <a:lnTo>
                  <a:pt x="2107642" y="134005"/>
                </a:lnTo>
                <a:close/>
                <a:moveTo>
                  <a:pt x="1000763" y="132681"/>
                </a:moveTo>
                <a:lnTo>
                  <a:pt x="990229" y="105693"/>
                </a:lnTo>
                <a:cubicBezTo>
                  <a:pt x="992049" y="104976"/>
                  <a:pt x="993869" y="104277"/>
                  <a:pt x="995708" y="103579"/>
                </a:cubicBezTo>
                <a:lnTo>
                  <a:pt x="1006132" y="130604"/>
                </a:lnTo>
                <a:cubicBezTo>
                  <a:pt x="1004348" y="131302"/>
                  <a:pt x="1002547" y="131983"/>
                  <a:pt x="1000763" y="132681"/>
                </a:cubicBezTo>
                <a:close/>
                <a:moveTo>
                  <a:pt x="2088872" y="126817"/>
                </a:moveTo>
                <a:cubicBezTo>
                  <a:pt x="2087088" y="126136"/>
                  <a:pt x="2085287" y="125475"/>
                  <a:pt x="2083485" y="124813"/>
                </a:cubicBezTo>
                <a:lnTo>
                  <a:pt x="2093578" y="97659"/>
                </a:lnTo>
                <a:cubicBezTo>
                  <a:pt x="2095398" y="98339"/>
                  <a:pt x="2097237" y="99019"/>
                  <a:pt x="2099057" y="99699"/>
                </a:cubicBezTo>
                <a:lnTo>
                  <a:pt x="2088853" y="126817"/>
                </a:lnTo>
                <a:close/>
                <a:moveTo>
                  <a:pt x="1019571" y="125493"/>
                </a:moveTo>
                <a:lnTo>
                  <a:pt x="1009404" y="98357"/>
                </a:lnTo>
                <a:cubicBezTo>
                  <a:pt x="1011242" y="97677"/>
                  <a:pt x="1013063" y="96978"/>
                  <a:pt x="1014901" y="96298"/>
                </a:cubicBezTo>
                <a:lnTo>
                  <a:pt x="1024957" y="123471"/>
                </a:lnTo>
                <a:cubicBezTo>
                  <a:pt x="1023156" y="124132"/>
                  <a:pt x="1021354" y="124813"/>
                  <a:pt x="1019571" y="125475"/>
                </a:cubicBezTo>
                <a:close/>
                <a:moveTo>
                  <a:pt x="2070009" y="119867"/>
                </a:moveTo>
                <a:cubicBezTo>
                  <a:pt x="2068207" y="119224"/>
                  <a:pt x="2066406" y="118580"/>
                  <a:pt x="2064604" y="117937"/>
                </a:cubicBezTo>
                <a:lnTo>
                  <a:pt x="2074330" y="90654"/>
                </a:lnTo>
                <a:cubicBezTo>
                  <a:pt x="2076168" y="91316"/>
                  <a:pt x="2078006" y="91960"/>
                  <a:pt x="2079845" y="92621"/>
                </a:cubicBezTo>
                <a:lnTo>
                  <a:pt x="2070009" y="119867"/>
                </a:lnTo>
                <a:close/>
                <a:moveTo>
                  <a:pt x="1038488" y="118544"/>
                </a:moveTo>
                <a:lnTo>
                  <a:pt x="1028671" y="91279"/>
                </a:lnTo>
                <a:cubicBezTo>
                  <a:pt x="1030509" y="90617"/>
                  <a:pt x="1032348" y="89956"/>
                  <a:pt x="1034205" y="89294"/>
                </a:cubicBezTo>
                <a:lnTo>
                  <a:pt x="1043912" y="116595"/>
                </a:lnTo>
                <a:cubicBezTo>
                  <a:pt x="1042110" y="117238"/>
                  <a:pt x="1040308" y="117882"/>
                  <a:pt x="1038488" y="118525"/>
                </a:cubicBezTo>
                <a:close/>
                <a:moveTo>
                  <a:pt x="2051055" y="113157"/>
                </a:moveTo>
                <a:cubicBezTo>
                  <a:pt x="2049253" y="112532"/>
                  <a:pt x="2047433" y="111907"/>
                  <a:pt x="2045631" y="111282"/>
                </a:cubicBezTo>
                <a:lnTo>
                  <a:pt x="2055007" y="83870"/>
                </a:lnTo>
                <a:cubicBezTo>
                  <a:pt x="2056864" y="84495"/>
                  <a:pt x="2058703" y="85139"/>
                  <a:pt x="2060559" y="85782"/>
                </a:cubicBezTo>
                <a:lnTo>
                  <a:pt x="2051073" y="113157"/>
                </a:lnTo>
                <a:close/>
                <a:moveTo>
                  <a:pt x="1057498" y="111833"/>
                </a:moveTo>
                <a:lnTo>
                  <a:pt x="1048048" y="84440"/>
                </a:lnTo>
                <a:cubicBezTo>
                  <a:pt x="1049905" y="83797"/>
                  <a:pt x="1051744" y="83172"/>
                  <a:pt x="1053600" y="82528"/>
                </a:cubicBezTo>
                <a:lnTo>
                  <a:pt x="1062940" y="109958"/>
                </a:lnTo>
                <a:cubicBezTo>
                  <a:pt x="1061120" y="110583"/>
                  <a:pt x="1059318" y="111208"/>
                  <a:pt x="1057498" y="111833"/>
                </a:cubicBezTo>
                <a:close/>
                <a:moveTo>
                  <a:pt x="2032008" y="106704"/>
                </a:moveTo>
                <a:cubicBezTo>
                  <a:pt x="2030188" y="106097"/>
                  <a:pt x="2028368" y="105509"/>
                  <a:pt x="2026566" y="104902"/>
                </a:cubicBezTo>
                <a:lnTo>
                  <a:pt x="2035575" y="77362"/>
                </a:lnTo>
                <a:cubicBezTo>
                  <a:pt x="2037432" y="77969"/>
                  <a:pt x="2039288" y="78576"/>
                  <a:pt x="2041145" y="79201"/>
                </a:cubicBezTo>
                <a:lnTo>
                  <a:pt x="2032008" y="106704"/>
                </a:lnTo>
                <a:close/>
                <a:moveTo>
                  <a:pt x="1076581" y="105399"/>
                </a:moveTo>
                <a:lnTo>
                  <a:pt x="1067499" y="77877"/>
                </a:lnTo>
                <a:cubicBezTo>
                  <a:pt x="1069356" y="77270"/>
                  <a:pt x="1071213" y="76664"/>
                  <a:pt x="1073070" y="76057"/>
                </a:cubicBezTo>
                <a:lnTo>
                  <a:pt x="1082060" y="103597"/>
                </a:lnTo>
                <a:cubicBezTo>
                  <a:pt x="1080240" y="104185"/>
                  <a:pt x="1078401" y="104792"/>
                  <a:pt x="1076581" y="105399"/>
                </a:cubicBezTo>
                <a:close/>
                <a:moveTo>
                  <a:pt x="2012888" y="100508"/>
                </a:moveTo>
                <a:cubicBezTo>
                  <a:pt x="2011068" y="99920"/>
                  <a:pt x="2009248" y="99350"/>
                  <a:pt x="2007410" y="98780"/>
                </a:cubicBezTo>
                <a:lnTo>
                  <a:pt x="2016069" y="71130"/>
                </a:lnTo>
                <a:cubicBezTo>
                  <a:pt x="2017926" y="71718"/>
                  <a:pt x="2019801" y="72306"/>
                  <a:pt x="2021658" y="72895"/>
                </a:cubicBezTo>
                <a:lnTo>
                  <a:pt x="2012888" y="100508"/>
                </a:lnTo>
                <a:close/>
                <a:moveTo>
                  <a:pt x="1095738" y="99203"/>
                </a:moveTo>
                <a:lnTo>
                  <a:pt x="1087024" y="71571"/>
                </a:lnTo>
                <a:cubicBezTo>
                  <a:pt x="1088899" y="70983"/>
                  <a:pt x="1090756" y="70394"/>
                  <a:pt x="1092631" y="69806"/>
                </a:cubicBezTo>
                <a:lnTo>
                  <a:pt x="1101235" y="97475"/>
                </a:lnTo>
                <a:cubicBezTo>
                  <a:pt x="1099415" y="98045"/>
                  <a:pt x="1097576" y="98615"/>
                  <a:pt x="1095756" y="99185"/>
                </a:cubicBezTo>
                <a:close/>
                <a:moveTo>
                  <a:pt x="1993676" y="94552"/>
                </a:moveTo>
                <a:cubicBezTo>
                  <a:pt x="1991838" y="94000"/>
                  <a:pt x="1989999" y="93449"/>
                  <a:pt x="1988179" y="92897"/>
                </a:cubicBezTo>
                <a:lnTo>
                  <a:pt x="1996471" y="65136"/>
                </a:lnTo>
                <a:cubicBezTo>
                  <a:pt x="1998346" y="65688"/>
                  <a:pt x="2000203" y="66258"/>
                  <a:pt x="2002078" y="66828"/>
                </a:cubicBezTo>
                <a:lnTo>
                  <a:pt x="1993676" y="94552"/>
                </a:lnTo>
                <a:close/>
                <a:moveTo>
                  <a:pt x="1114987" y="93265"/>
                </a:moveTo>
                <a:lnTo>
                  <a:pt x="1106622" y="65523"/>
                </a:lnTo>
                <a:cubicBezTo>
                  <a:pt x="1108497" y="64953"/>
                  <a:pt x="1110372" y="64401"/>
                  <a:pt x="1112247" y="63850"/>
                </a:cubicBezTo>
                <a:lnTo>
                  <a:pt x="1120484" y="91629"/>
                </a:lnTo>
                <a:cubicBezTo>
                  <a:pt x="1118645" y="92180"/>
                  <a:pt x="1116807" y="92732"/>
                  <a:pt x="1114968" y="93283"/>
                </a:cubicBezTo>
                <a:close/>
                <a:moveTo>
                  <a:pt x="1974391" y="88853"/>
                </a:moveTo>
                <a:cubicBezTo>
                  <a:pt x="1972552" y="88319"/>
                  <a:pt x="1970714" y="87786"/>
                  <a:pt x="1968857" y="87271"/>
                </a:cubicBezTo>
                <a:lnTo>
                  <a:pt x="1976781" y="59400"/>
                </a:lnTo>
                <a:cubicBezTo>
                  <a:pt x="1978656" y="59934"/>
                  <a:pt x="1980531" y="60467"/>
                  <a:pt x="1982407" y="61018"/>
                </a:cubicBezTo>
                <a:lnTo>
                  <a:pt x="1974391" y="88853"/>
                </a:lnTo>
                <a:close/>
                <a:moveTo>
                  <a:pt x="1134309" y="87584"/>
                </a:moveTo>
                <a:lnTo>
                  <a:pt x="1126330" y="59731"/>
                </a:lnTo>
                <a:cubicBezTo>
                  <a:pt x="1128205" y="59198"/>
                  <a:pt x="1130099" y="58647"/>
                  <a:pt x="1131974" y="58132"/>
                </a:cubicBezTo>
                <a:lnTo>
                  <a:pt x="1139843" y="86021"/>
                </a:lnTo>
                <a:cubicBezTo>
                  <a:pt x="1138004" y="86536"/>
                  <a:pt x="1136147" y="87069"/>
                  <a:pt x="1134309" y="87602"/>
                </a:cubicBezTo>
                <a:close/>
                <a:moveTo>
                  <a:pt x="1955032" y="83411"/>
                </a:moveTo>
                <a:cubicBezTo>
                  <a:pt x="1953194" y="82914"/>
                  <a:pt x="1951337" y="82400"/>
                  <a:pt x="1949480" y="81903"/>
                </a:cubicBezTo>
                <a:lnTo>
                  <a:pt x="1957036" y="53922"/>
                </a:lnTo>
                <a:cubicBezTo>
                  <a:pt x="1958930" y="54437"/>
                  <a:pt x="1960805" y="54951"/>
                  <a:pt x="1962698" y="55466"/>
                </a:cubicBezTo>
                <a:lnTo>
                  <a:pt x="1955032" y="83411"/>
                </a:lnTo>
                <a:close/>
                <a:moveTo>
                  <a:pt x="1153723" y="82161"/>
                </a:moveTo>
                <a:lnTo>
                  <a:pt x="1146112" y="54198"/>
                </a:lnTo>
                <a:cubicBezTo>
                  <a:pt x="1148005" y="53683"/>
                  <a:pt x="1149880" y="53168"/>
                  <a:pt x="1151774" y="52672"/>
                </a:cubicBezTo>
                <a:lnTo>
                  <a:pt x="1159275" y="80653"/>
                </a:lnTo>
                <a:cubicBezTo>
                  <a:pt x="1157418" y="81149"/>
                  <a:pt x="1155580" y="81646"/>
                  <a:pt x="1153723" y="82161"/>
                </a:cubicBezTo>
                <a:close/>
                <a:moveTo>
                  <a:pt x="1935600" y="78208"/>
                </a:moveTo>
                <a:cubicBezTo>
                  <a:pt x="1933743" y="77730"/>
                  <a:pt x="1931886" y="77252"/>
                  <a:pt x="1930029" y="76774"/>
                </a:cubicBezTo>
                <a:lnTo>
                  <a:pt x="1937217" y="48701"/>
                </a:lnTo>
                <a:cubicBezTo>
                  <a:pt x="1939111" y="49179"/>
                  <a:pt x="1941005" y="49675"/>
                  <a:pt x="1942898" y="50171"/>
                </a:cubicBezTo>
                <a:lnTo>
                  <a:pt x="1935600" y="78208"/>
                </a:lnTo>
                <a:close/>
                <a:moveTo>
                  <a:pt x="1173174" y="76994"/>
                </a:moveTo>
                <a:lnTo>
                  <a:pt x="1165930" y="48940"/>
                </a:lnTo>
                <a:cubicBezTo>
                  <a:pt x="1167824" y="48443"/>
                  <a:pt x="1169717" y="47965"/>
                  <a:pt x="1171629" y="47487"/>
                </a:cubicBezTo>
                <a:lnTo>
                  <a:pt x="1178744" y="75579"/>
                </a:lnTo>
                <a:cubicBezTo>
                  <a:pt x="1176887" y="76057"/>
                  <a:pt x="1175031" y="76516"/>
                  <a:pt x="1173174" y="77013"/>
                </a:cubicBezTo>
                <a:close/>
                <a:moveTo>
                  <a:pt x="1916094" y="73281"/>
                </a:moveTo>
                <a:cubicBezTo>
                  <a:pt x="1914237" y="72821"/>
                  <a:pt x="1912380" y="72362"/>
                  <a:pt x="1910505" y="71920"/>
                </a:cubicBezTo>
                <a:lnTo>
                  <a:pt x="1917325" y="43755"/>
                </a:lnTo>
                <a:cubicBezTo>
                  <a:pt x="1919219" y="44215"/>
                  <a:pt x="1921112" y="44674"/>
                  <a:pt x="1923006" y="45152"/>
                </a:cubicBezTo>
                <a:lnTo>
                  <a:pt x="1916075" y="73281"/>
                </a:lnTo>
                <a:close/>
                <a:moveTo>
                  <a:pt x="1192717" y="72086"/>
                </a:moveTo>
                <a:lnTo>
                  <a:pt x="1185859" y="43939"/>
                </a:lnTo>
                <a:cubicBezTo>
                  <a:pt x="1187753" y="43479"/>
                  <a:pt x="1189665" y="43020"/>
                  <a:pt x="1191558" y="42560"/>
                </a:cubicBezTo>
                <a:lnTo>
                  <a:pt x="1198324" y="70725"/>
                </a:lnTo>
                <a:cubicBezTo>
                  <a:pt x="1196467" y="71167"/>
                  <a:pt x="1194592" y="71626"/>
                  <a:pt x="1192735" y="72086"/>
                </a:cubicBezTo>
                <a:close/>
                <a:moveTo>
                  <a:pt x="1896532" y="68593"/>
                </a:moveTo>
                <a:cubicBezTo>
                  <a:pt x="1894657" y="68152"/>
                  <a:pt x="1892800" y="67729"/>
                  <a:pt x="1890925" y="67306"/>
                </a:cubicBezTo>
                <a:lnTo>
                  <a:pt x="1897378" y="39067"/>
                </a:lnTo>
                <a:cubicBezTo>
                  <a:pt x="1899290" y="39508"/>
                  <a:pt x="1901184" y="39931"/>
                  <a:pt x="1903077" y="40372"/>
                </a:cubicBezTo>
                <a:lnTo>
                  <a:pt x="1896532" y="68593"/>
                </a:lnTo>
                <a:close/>
                <a:moveTo>
                  <a:pt x="1212314" y="67453"/>
                </a:moveTo>
                <a:lnTo>
                  <a:pt x="1205825" y="39214"/>
                </a:lnTo>
                <a:cubicBezTo>
                  <a:pt x="1207737" y="38773"/>
                  <a:pt x="1209649" y="38332"/>
                  <a:pt x="1211542" y="37909"/>
                </a:cubicBezTo>
                <a:lnTo>
                  <a:pt x="1217922" y="66166"/>
                </a:lnTo>
                <a:cubicBezTo>
                  <a:pt x="1216047" y="66589"/>
                  <a:pt x="1214190" y="67012"/>
                  <a:pt x="1212314" y="67435"/>
                </a:cubicBezTo>
                <a:close/>
                <a:moveTo>
                  <a:pt x="1876916" y="64180"/>
                </a:moveTo>
                <a:cubicBezTo>
                  <a:pt x="1875041" y="63776"/>
                  <a:pt x="1873166" y="63372"/>
                  <a:pt x="1871290" y="62967"/>
                </a:cubicBezTo>
                <a:lnTo>
                  <a:pt x="1877376" y="34636"/>
                </a:lnTo>
                <a:cubicBezTo>
                  <a:pt x="1879288" y="35041"/>
                  <a:pt x="1881181" y="35464"/>
                  <a:pt x="1883093" y="35868"/>
                </a:cubicBezTo>
                <a:lnTo>
                  <a:pt x="1876916" y="64180"/>
                </a:lnTo>
                <a:close/>
                <a:moveTo>
                  <a:pt x="1231949" y="63059"/>
                </a:moveTo>
                <a:lnTo>
                  <a:pt x="1225827" y="34728"/>
                </a:lnTo>
                <a:cubicBezTo>
                  <a:pt x="1227739" y="34324"/>
                  <a:pt x="1229651" y="33901"/>
                  <a:pt x="1231563" y="33497"/>
                </a:cubicBezTo>
                <a:lnTo>
                  <a:pt x="1237575" y="61846"/>
                </a:lnTo>
                <a:cubicBezTo>
                  <a:pt x="1235700" y="62250"/>
                  <a:pt x="1233824" y="62655"/>
                  <a:pt x="1231949" y="63059"/>
                </a:cubicBezTo>
                <a:close/>
                <a:moveTo>
                  <a:pt x="1857226" y="60007"/>
                </a:moveTo>
                <a:cubicBezTo>
                  <a:pt x="1855351" y="59621"/>
                  <a:pt x="1853476" y="59235"/>
                  <a:pt x="1851582" y="58867"/>
                </a:cubicBezTo>
                <a:lnTo>
                  <a:pt x="1857300" y="30463"/>
                </a:lnTo>
                <a:cubicBezTo>
                  <a:pt x="1859212" y="30849"/>
                  <a:pt x="1861124" y="31235"/>
                  <a:pt x="1863036" y="31621"/>
                </a:cubicBezTo>
                <a:lnTo>
                  <a:pt x="1857226" y="60007"/>
                </a:lnTo>
                <a:close/>
                <a:moveTo>
                  <a:pt x="1251657" y="58941"/>
                </a:moveTo>
                <a:lnTo>
                  <a:pt x="1245921" y="30537"/>
                </a:lnTo>
                <a:cubicBezTo>
                  <a:pt x="1247833" y="30151"/>
                  <a:pt x="1249745" y="29765"/>
                  <a:pt x="1251676" y="29379"/>
                </a:cubicBezTo>
                <a:lnTo>
                  <a:pt x="1257301" y="57801"/>
                </a:lnTo>
                <a:cubicBezTo>
                  <a:pt x="1255426" y="58169"/>
                  <a:pt x="1253533" y="58555"/>
                  <a:pt x="1251657" y="58922"/>
                </a:cubicBezTo>
                <a:close/>
                <a:moveTo>
                  <a:pt x="1837481" y="56110"/>
                </a:moveTo>
                <a:cubicBezTo>
                  <a:pt x="1835606" y="55742"/>
                  <a:pt x="1833712" y="55393"/>
                  <a:pt x="1831837" y="55043"/>
                </a:cubicBezTo>
                <a:lnTo>
                  <a:pt x="1837169" y="26566"/>
                </a:lnTo>
                <a:cubicBezTo>
                  <a:pt x="1839099" y="26933"/>
                  <a:pt x="1841011" y="27283"/>
                  <a:pt x="1842923" y="27650"/>
                </a:cubicBezTo>
                <a:lnTo>
                  <a:pt x="1837481" y="56110"/>
                </a:lnTo>
                <a:close/>
                <a:moveTo>
                  <a:pt x="1271439" y="55080"/>
                </a:moveTo>
                <a:lnTo>
                  <a:pt x="1266071" y="26602"/>
                </a:lnTo>
                <a:cubicBezTo>
                  <a:pt x="1268001" y="26235"/>
                  <a:pt x="1269913" y="25885"/>
                  <a:pt x="1271844" y="25536"/>
                </a:cubicBezTo>
                <a:lnTo>
                  <a:pt x="1277102" y="54032"/>
                </a:lnTo>
                <a:cubicBezTo>
                  <a:pt x="1275208" y="54381"/>
                  <a:pt x="1273333" y="54731"/>
                  <a:pt x="1271439" y="55080"/>
                </a:cubicBezTo>
                <a:close/>
                <a:moveTo>
                  <a:pt x="1817699" y="52451"/>
                </a:moveTo>
                <a:cubicBezTo>
                  <a:pt x="1815806" y="52120"/>
                  <a:pt x="1813931" y="51789"/>
                  <a:pt x="1812037" y="51458"/>
                </a:cubicBezTo>
                <a:lnTo>
                  <a:pt x="1816982" y="22907"/>
                </a:lnTo>
                <a:cubicBezTo>
                  <a:pt x="1818913" y="23238"/>
                  <a:pt x="1820825" y="23587"/>
                  <a:pt x="1822755" y="23918"/>
                </a:cubicBezTo>
                <a:lnTo>
                  <a:pt x="1817699" y="52451"/>
                </a:lnTo>
                <a:close/>
                <a:moveTo>
                  <a:pt x="1291239" y="51495"/>
                </a:moveTo>
                <a:lnTo>
                  <a:pt x="1286257" y="22962"/>
                </a:lnTo>
                <a:cubicBezTo>
                  <a:pt x="1288187" y="22631"/>
                  <a:pt x="1290118" y="22300"/>
                  <a:pt x="1292030" y="21970"/>
                </a:cubicBezTo>
                <a:lnTo>
                  <a:pt x="1296902" y="50539"/>
                </a:lnTo>
                <a:cubicBezTo>
                  <a:pt x="1295008" y="50870"/>
                  <a:pt x="1293115" y="51183"/>
                  <a:pt x="1291239" y="51514"/>
                </a:cubicBezTo>
                <a:close/>
                <a:moveTo>
                  <a:pt x="1797863" y="49068"/>
                </a:moveTo>
                <a:cubicBezTo>
                  <a:pt x="1795969" y="48756"/>
                  <a:pt x="1794075" y="48443"/>
                  <a:pt x="1792182" y="48149"/>
                </a:cubicBezTo>
                <a:lnTo>
                  <a:pt x="1796759" y="19543"/>
                </a:lnTo>
                <a:cubicBezTo>
                  <a:pt x="1798690" y="19855"/>
                  <a:pt x="1800620" y="20168"/>
                  <a:pt x="1802551" y="20480"/>
                </a:cubicBezTo>
                <a:lnTo>
                  <a:pt x="1797863" y="49068"/>
                </a:lnTo>
                <a:close/>
                <a:moveTo>
                  <a:pt x="1311095" y="48168"/>
                </a:moveTo>
                <a:lnTo>
                  <a:pt x="1306498" y="19561"/>
                </a:lnTo>
                <a:cubicBezTo>
                  <a:pt x="1308429" y="19249"/>
                  <a:pt x="1310359" y="18936"/>
                  <a:pt x="1312290" y="18642"/>
                </a:cubicBezTo>
                <a:lnTo>
                  <a:pt x="1316775" y="47267"/>
                </a:lnTo>
                <a:cubicBezTo>
                  <a:pt x="1314882" y="47561"/>
                  <a:pt x="1312988" y="47855"/>
                  <a:pt x="1311095" y="48168"/>
                </a:cubicBezTo>
                <a:close/>
                <a:moveTo>
                  <a:pt x="1777970" y="45943"/>
                </a:moveTo>
                <a:cubicBezTo>
                  <a:pt x="1776077" y="45649"/>
                  <a:pt x="1774183" y="45373"/>
                  <a:pt x="1772290" y="45097"/>
                </a:cubicBezTo>
                <a:lnTo>
                  <a:pt x="1776500" y="16436"/>
                </a:lnTo>
                <a:cubicBezTo>
                  <a:pt x="1778430" y="16712"/>
                  <a:pt x="1780360" y="17006"/>
                  <a:pt x="1782291" y="17300"/>
                </a:cubicBezTo>
                <a:lnTo>
                  <a:pt x="1777989" y="45943"/>
                </a:lnTo>
                <a:close/>
                <a:moveTo>
                  <a:pt x="1330987" y="45097"/>
                </a:moveTo>
                <a:lnTo>
                  <a:pt x="1326758" y="16436"/>
                </a:lnTo>
                <a:cubicBezTo>
                  <a:pt x="1328689" y="16142"/>
                  <a:pt x="1330637" y="15866"/>
                  <a:pt x="1332568" y="15590"/>
                </a:cubicBezTo>
                <a:lnTo>
                  <a:pt x="1336668" y="44270"/>
                </a:lnTo>
                <a:cubicBezTo>
                  <a:pt x="1334774" y="44546"/>
                  <a:pt x="1332880" y="44822"/>
                  <a:pt x="1330968" y="45097"/>
                </a:cubicBezTo>
                <a:close/>
                <a:moveTo>
                  <a:pt x="1758042" y="43075"/>
                </a:moveTo>
                <a:cubicBezTo>
                  <a:pt x="1756148" y="42818"/>
                  <a:pt x="1754254" y="42560"/>
                  <a:pt x="1752342" y="42303"/>
                </a:cubicBezTo>
                <a:lnTo>
                  <a:pt x="1756166" y="13586"/>
                </a:lnTo>
                <a:cubicBezTo>
                  <a:pt x="1758097" y="13844"/>
                  <a:pt x="1760045" y="14101"/>
                  <a:pt x="1761976" y="14377"/>
                </a:cubicBezTo>
                <a:lnTo>
                  <a:pt x="1758042" y="43075"/>
                </a:lnTo>
                <a:close/>
                <a:moveTo>
                  <a:pt x="1350934" y="42303"/>
                </a:moveTo>
                <a:lnTo>
                  <a:pt x="1347092" y="13586"/>
                </a:lnTo>
                <a:cubicBezTo>
                  <a:pt x="1349022" y="13329"/>
                  <a:pt x="1350971" y="13071"/>
                  <a:pt x="1352901" y="12814"/>
                </a:cubicBezTo>
                <a:lnTo>
                  <a:pt x="1356633" y="41549"/>
                </a:lnTo>
                <a:cubicBezTo>
                  <a:pt x="1354740" y="41788"/>
                  <a:pt x="1352828" y="42045"/>
                  <a:pt x="1350934" y="42303"/>
                </a:cubicBezTo>
                <a:close/>
                <a:moveTo>
                  <a:pt x="1738094" y="40483"/>
                </a:moveTo>
                <a:cubicBezTo>
                  <a:pt x="1736182" y="40244"/>
                  <a:pt x="1734289" y="40023"/>
                  <a:pt x="1732377" y="39784"/>
                </a:cubicBezTo>
                <a:lnTo>
                  <a:pt x="1735815" y="11012"/>
                </a:lnTo>
                <a:cubicBezTo>
                  <a:pt x="1737745" y="11251"/>
                  <a:pt x="1739694" y="11472"/>
                  <a:pt x="1741624" y="11711"/>
                </a:cubicBezTo>
                <a:lnTo>
                  <a:pt x="1738076" y="40464"/>
                </a:lnTo>
                <a:close/>
                <a:moveTo>
                  <a:pt x="1370900" y="39766"/>
                </a:moveTo>
                <a:lnTo>
                  <a:pt x="1367443" y="10994"/>
                </a:lnTo>
                <a:cubicBezTo>
                  <a:pt x="1369392" y="10755"/>
                  <a:pt x="1371322" y="10534"/>
                  <a:pt x="1373271" y="10314"/>
                </a:cubicBezTo>
                <a:lnTo>
                  <a:pt x="1376617" y="39086"/>
                </a:lnTo>
                <a:cubicBezTo>
                  <a:pt x="1374705" y="39306"/>
                  <a:pt x="1372812" y="39527"/>
                  <a:pt x="1370900" y="39766"/>
                </a:cubicBezTo>
                <a:close/>
                <a:moveTo>
                  <a:pt x="1718110" y="38148"/>
                </a:moveTo>
                <a:cubicBezTo>
                  <a:pt x="1716198" y="37946"/>
                  <a:pt x="1714286" y="37725"/>
                  <a:pt x="1712393" y="37523"/>
                </a:cubicBezTo>
                <a:lnTo>
                  <a:pt x="1715463" y="8714"/>
                </a:lnTo>
                <a:cubicBezTo>
                  <a:pt x="1717412" y="8917"/>
                  <a:pt x="1719342" y="9137"/>
                  <a:pt x="1721291" y="9339"/>
                </a:cubicBezTo>
                <a:lnTo>
                  <a:pt x="1718129" y="38148"/>
                </a:lnTo>
                <a:close/>
                <a:moveTo>
                  <a:pt x="1390884" y="37504"/>
                </a:moveTo>
                <a:lnTo>
                  <a:pt x="1387813" y="8696"/>
                </a:lnTo>
                <a:cubicBezTo>
                  <a:pt x="1389762" y="8494"/>
                  <a:pt x="1391693" y="8291"/>
                  <a:pt x="1393641" y="8089"/>
                </a:cubicBezTo>
                <a:lnTo>
                  <a:pt x="1396601" y="36916"/>
                </a:lnTo>
                <a:cubicBezTo>
                  <a:pt x="1394689" y="37118"/>
                  <a:pt x="1392796" y="37302"/>
                  <a:pt x="1390884" y="37523"/>
                </a:cubicBezTo>
                <a:close/>
                <a:moveTo>
                  <a:pt x="1698090" y="36070"/>
                </a:moveTo>
                <a:cubicBezTo>
                  <a:pt x="1696177" y="35887"/>
                  <a:pt x="1694265" y="35703"/>
                  <a:pt x="1692354" y="35519"/>
                </a:cubicBezTo>
                <a:lnTo>
                  <a:pt x="1695038" y="6674"/>
                </a:lnTo>
                <a:cubicBezTo>
                  <a:pt x="1696987" y="6857"/>
                  <a:pt x="1698917" y="7041"/>
                  <a:pt x="1700866" y="7225"/>
                </a:cubicBezTo>
                <a:lnTo>
                  <a:pt x="1698090" y="36070"/>
                </a:lnTo>
                <a:close/>
                <a:moveTo>
                  <a:pt x="1410923" y="35501"/>
                </a:moveTo>
                <a:lnTo>
                  <a:pt x="1408239" y="6655"/>
                </a:lnTo>
                <a:cubicBezTo>
                  <a:pt x="1410187" y="6471"/>
                  <a:pt x="1412136" y="6306"/>
                  <a:pt x="1414085" y="6122"/>
                </a:cubicBezTo>
                <a:lnTo>
                  <a:pt x="1416659" y="34986"/>
                </a:lnTo>
                <a:cubicBezTo>
                  <a:pt x="1414747" y="35151"/>
                  <a:pt x="1412835" y="35335"/>
                  <a:pt x="1410941" y="35501"/>
                </a:cubicBezTo>
                <a:close/>
                <a:moveTo>
                  <a:pt x="1678032" y="34250"/>
                </a:moveTo>
                <a:cubicBezTo>
                  <a:pt x="1676120" y="34085"/>
                  <a:pt x="1674208" y="33938"/>
                  <a:pt x="1672296" y="33772"/>
                </a:cubicBezTo>
                <a:lnTo>
                  <a:pt x="1674612" y="4890"/>
                </a:lnTo>
                <a:cubicBezTo>
                  <a:pt x="1676561" y="5037"/>
                  <a:pt x="1678510" y="5203"/>
                  <a:pt x="1680440" y="5368"/>
                </a:cubicBezTo>
                <a:lnTo>
                  <a:pt x="1678032" y="34250"/>
                </a:lnTo>
                <a:close/>
                <a:moveTo>
                  <a:pt x="1430980" y="33772"/>
                </a:moveTo>
                <a:lnTo>
                  <a:pt x="1428664" y="4890"/>
                </a:lnTo>
                <a:cubicBezTo>
                  <a:pt x="1430613" y="4743"/>
                  <a:pt x="1432561" y="4578"/>
                  <a:pt x="1434510" y="4431"/>
                </a:cubicBezTo>
                <a:lnTo>
                  <a:pt x="1436698" y="33313"/>
                </a:lnTo>
                <a:cubicBezTo>
                  <a:pt x="1434786" y="33460"/>
                  <a:pt x="1432874" y="33607"/>
                  <a:pt x="1430962" y="33754"/>
                </a:cubicBezTo>
                <a:close/>
                <a:moveTo>
                  <a:pt x="1657956" y="32706"/>
                </a:moveTo>
                <a:cubicBezTo>
                  <a:pt x="1656044" y="32577"/>
                  <a:pt x="1654132" y="32449"/>
                  <a:pt x="1652202" y="32320"/>
                </a:cubicBezTo>
                <a:lnTo>
                  <a:pt x="1654132" y="3420"/>
                </a:lnTo>
                <a:cubicBezTo>
                  <a:pt x="1656081" y="3548"/>
                  <a:pt x="1658030" y="3677"/>
                  <a:pt x="1659978" y="3824"/>
                </a:cubicBezTo>
                <a:lnTo>
                  <a:pt x="1657956" y="32724"/>
                </a:lnTo>
                <a:close/>
                <a:moveTo>
                  <a:pt x="1451038" y="32302"/>
                </a:moveTo>
                <a:lnTo>
                  <a:pt x="1449126" y="3383"/>
                </a:lnTo>
                <a:cubicBezTo>
                  <a:pt x="1451075" y="3254"/>
                  <a:pt x="1453023" y="3125"/>
                  <a:pt x="1454972" y="3015"/>
                </a:cubicBezTo>
                <a:lnTo>
                  <a:pt x="1456792" y="31934"/>
                </a:lnTo>
                <a:cubicBezTo>
                  <a:pt x="1454880" y="32063"/>
                  <a:pt x="1452968" y="32173"/>
                  <a:pt x="1451056" y="32302"/>
                </a:cubicBezTo>
                <a:close/>
                <a:moveTo>
                  <a:pt x="1637862" y="31438"/>
                </a:moveTo>
                <a:cubicBezTo>
                  <a:pt x="1635950" y="31327"/>
                  <a:pt x="1634038" y="31217"/>
                  <a:pt x="1632107" y="31125"/>
                </a:cubicBezTo>
                <a:lnTo>
                  <a:pt x="1633633" y="2188"/>
                </a:lnTo>
                <a:cubicBezTo>
                  <a:pt x="1635582" y="2298"/>
                  <a:pt x="1637531" y="2390"/>
                  <a:pt x="1639480" y="2519"/>
                </a:cubicBezTo>
                <a:lnTo>
                  <a:pt x="1637843" y="31438"/>
                </a:lnTo>
                <a:close/>
                <a:moveTo>
                  <a:pt x="1471132" y="31107"/>
                </a:moveTo>
                <a:lnTo>
                  <a:pt x="1469588" y="2169"/>
                </a:lnTo>
                <a:cubicBezTo>
                  <a:pt x="1471537" y="2059"/>
                  <a:pt x="1473485" y="1967"/>
                  <a:pt x="1475453" y="1875"/>
                </a:cubicBezTo>
                <a:lnTo>
                  <a:pt x="1476868" y="30813"/>
                </a:lnTo>
                <a:cubicBezTo>
                  <a:pt x="1474956" y="30904"/>
                  <a:pt x="1473044" y="30996"/>
                  <a:pt x="1471132" y="31107"/>
                </a:cubicBezTo>
                <a:close/>
                <a:moveTo>
                  <a:pt x="1617731" y="30426"/>
                </a:moveTo>
                <a:cubicBezTo>
                  <a:pt x="1615819" y="30335"/>
                  <a:pt x="1613907" y="30261"/>
                  <a:pt x="1611995" y="30187"/>
                </a:cubicBezTo>
                <a:lnTo>
                  <a:pt x="1613153" y="1232"/>
                </a:lnTo>
                <a:cubicBezTo>
                  <a:pt x="1615102" y="1305"/>
                  <a:pt x="1617069" y="1397"/>
                  <a:pt x="1619018" y="1471"/>
                </a:cubicBezTo>
                <a:lnTo>
                  <a:pt x="1617731" y="30408"/>
                </a:lnTo>
                <a:close/>
                <a:moveTo>
                  <a:pt x="1491245" y="30169"/>
                </a:moveTo>
                <a:lnTo>
                  <a:pt x="1490087" y="1213"/>
                </a:lnTo>
                <a:cubicBezTo>
                  <a:pt x="1492035" y="1140"/>
                  <a:pt x="1493984" y="1066"/>
                  <a:pt x="1495951" y="993"/>
                </a:cubicBezTo>
                <a:lnTo>
                  <a:pt x="1496981" y="29948"/>
                </a:lnTo>
                <a:cubicBezTo>
                  <a:pt x="1495069" y="30022"/>
                  <a:pt x="1493157" y="30096"/>
                  <a:pt x="1491245" y="30169"/>
                </a:cubicBezTo>
                <a:close/>
                <a:moveTo>
                  <a:pt x="1597600" y="29673"/>
                </a:moveTo>
                <a:cubicBezTo>
                  <a:pt x="1595687" y="29618"/>
                  <a:pt x="1593776" y="29562"/>
                  <a:pt x="1591845" y="29507"/>
                </a:cubicBezTo>
                <a:lnTo>
                  <a:pt x="1592617" y="552"/>
                </a:lnTo>
                <a:cubicBezTo>
                  <a:pt x="1594566" y="607"/>
                  <a:pt x="1596533" y="662"/>
                  <a:pt x="1598482" y="717"/>
                </a:cubicBezTo>
                <a:lnTo>
                  <a:pt x="1597600" y="29673"/>
                </a:lnTo>
                <a:close/>
                <a:moveTo>
                  <a:pt x="1511358" y="29507"/>
                </a:moveTo>
                <a:lnTo>
                  <a:pt x="1510604" y="552"/>
                </a:lnTo>
                <a:cubicBezTo>
                  <a:pt x="1512553" y="496"/>
                  <a:pt x="1514501" y="460"/>
                  <a:pt x="1516468" y="404"/>
                </a:cubicBezTo>
                <a:lnTo>
                  <a:pt x="1517130" y="29379"/>
                </a:lnTo>
                <a:cubicBezTo>
                  <a:pt x="1515218" y="29415"/>
                  <a:pt x="1513288" y="29470"/>
                  <a:pt x="1511376" y="29526"/>
                </a:cubicBezTo>
                <a:close/>
                <a:moveTo>
                  <a:pt x="1577468" y="29195"/>
                </a:moveTo>
                <a:cubicBezTo>
                  <a:pt x="1575556" y="29158"/>
                  <a:pt x="1573626" y="29140"/>
                  <a:pt x="1571714" y="29103"/>
                </a:cubicBezTo>
                <a:lnTo>
                  <a:pt x="1572100" y="129"/>
                </a:lnTo>
                <a:cubicBezTo>
                  <a:pt x="1574049" y="147"/>
                  <a:pt x="1576016" y="184"/>
                  <a:pt x="1577965" y="221"/>
                </a:cubicBezTo>
                <a:lnTo>
                  <a:pt x="1577468" y="29195"/>
                </a:lnTo>
                <a:close/>
                <a:moveTo>
                  <a:pt x="1531470" y="29103"/>
                </a:moveTo>
                <a:lnTo>
                  <a:pt x="1531084" y="129"/>
                </a:lnTo>
                <a:cubicBezTo>
                  <a:pt x="1533033" y="110"/>
                  <a:pt x="1535000" y="74"/>
                  <a:pt x="1536949" y="55"/>
                </a:cubicBezTo>
                <a:lnTo>
                  <a:pt x="1537206" y="29029"/>
                </a:lnTo>
                <a:cubicBezTo>
                  <a:pt x="1535294" y="29029"/>
                  <a:pt x="1533382" y="29066"/>
                  <a:pt x="1531470" y="29103"/>
                </a:cubicBezTo>
                <a:close/>
                <a:moveTo>
                  <a:pt x="1557319" y="28992"/>
                </a:moveTo>
                <a:cubicBezTo>
                  <a:pt x="1555407" y="28992"/>
                  <a:pt x="1553495" y="28992"/>
                  <a:pt x="1551565" y="28992"/>
                </a:cubicBezTo>
                <a:lnTo>
                  <a:pt x="1551565" y="0"/>
                </a:lnTo>
                <a:cubicBezTo>
                  <a:pt x="1553513" y="0"/>
                  <a:pt x="1555481" y="0"/>
                  <a:pt x="1557429" y="0"/>
                </a:cubicBezTo>
                <a:lnTo>
                  <a:pt x="1557301" y="28974"/>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2F29DB4F-0817-56C8-57E6-2ADE7CBE006E}"/>
              </a:ext>
            </a:extLst>
          </p:cNvPr>
          <p:cNvSpPr/>
          <p:nvPr/>
        </p:nvSpPr>
        <p:spPr>
          <a:xfrm>
            <a:off x="1296672" y="2858486"/>
            <a:ext cx="2223004" cy="2222994"/>
          </a:xfrm>
          <a:custGeom>
            <a:avLst/>
            <a:gdLst>
              <a:gd name="connsiteX0" fmla="*/ 1111576 w 2223004"/>
              <a:gd name="connsiteY0" fmla="*/ 2222995 h 2222994"/>
              <a:gd name="connsiteX1" fmla="*/ 759732 w 2223004"/>
              <a:gd name="connsiteY1" fmla="*/ 2165580 h 2222994"/>
              <a:gd name="connsiteX2" fmla="*/ 388842 w 2223004"/>
              <a:gd name="connsiteY2" fmla="*/ 1956033 h 2222994"/>
              <a:gd name="connsiteX3" fmla="*/ 117413 w 2223004"/>
              <a:gd name="connsiteY3" fmla="*/ 1608124 h 2222994"/>
              <a:gd name="connsiteX4" fmla="*/ 2233 w 2223004"/>
              <a:gd name="connsiteY4" fmla="*/ 1182154 h 2222994"/>
              <a:gd name="connsiteX5" fmla="*/ 57405 w 2223004"/>
              <a:gd name="connsiteY5" fmla="*/ 759750 h 2222994"/>
              <a:gd name="connsiteX6" fmla="*/ 266953 w 2223004"/>
              <a:gd name="connsiteY6" fmla="*/ 388860 h 2222994"/>
              <a:gd name="connsiteX7" fmla="*/ 614862 w 2223004"/>
              <a:gd name="connsiteY7" fmla="*/ 117431 h 2222994"/>
              <a:gd name="connsiteX8" fmla="*/ 616149 w 2223004"/>
              <a:gd name="connsiteY8" fmla="*/ 120023 h 2222994"/>
              <a:gd name="connsiteX9" fmla="*/ 614862 w 2223004"/>
              <a:gd name="connsiteY9" fmla="*/ 117431 h 2222994"/>
              <a:gd name="connsiteX10" fmla="*/ 1040814 w 2223004"/>
              <a:gd name="connsiteY10" fmla="*/ 2233 h 2222994"/>
              <a:gd name="connsiteX11" fmla="*/ 1463217 w 2223004"/>
              <a:gd name="connsiteY11" fmla="*/ 57405 h 2222994"/>
              <a:gd name="connsiteX12" fmla="*/ 1834126 w 2223004"/>
              <a:gd name="connsiteY12" fmla="*/ 266952 h 2222994"/>
              <a:gd name="connsiteX13" fmla="*/ 2105574 w 2223004"/>
              <a:gd name="connsiteY13" fmla="*/ 614862 h 2222994"/>
              <a:gd name="connsiteX14" fmla="*/ 2220771 w 2223004"/>
              <a:gd name="connsiteY14" fmla="*/ 1040813 h 2222994"/>
              <a:gd name="connsiteX15" fmla="*/ 2165599 w 2223004"/>
              <a:gd name="connsiteY15" fmla="*/ 1463216 h 2222994"/>
              <a:gd name="connsiteX16" fmla="*/ 1956052 w 2223004"/>
              <a:gd name="connsiteY16" fmla="*/ 1834106 h 2222994"/>
              <a:gd name="connsiteX17" fmla="*/ 1608143 w 2223004"/>
              <a:gd name="connsiteY17" fmla="*/ 2105536 h 2222994"/>
              <a:gd name="connsiteX18" fmla="*/ 1182172 w 2223004"/>
              <a:gd name="connsiteY18" fmla="*/ 2220715 h 2222994"/>
              <a:gd name="connsiteX19" fmla="*/ 1111594 w 2223004"/>
              <a:gd name="connsiteY19" fmla="*/ 2222940 h 2222994"/>
              <a:gd name="connsiteX20" fmla="*/ 1110399 w 2223004"/>
              <a:gd name="connsiteY20" fmla="*/ 5524 h 2222994"/>
              <a:gd name="connsiteX21" fmla="*/ 617436 w 2223004"/>
              <a:gd name="connsiteY21" fmla="*/ 122634 h 2222994"/>
              <a:gd name="connsiteX22" fmla="*/ 122579 w 2223004"/>
              <a:gd name="connsiteY22" fmla="*/ 1605568 h 2222994"/>
              <a:gd name="connsiteX23" fmla="*/ 1113267 w 2223004"/>
              <a:gd name="connsiteY23" fmla="*/ 2216836 h 2222994"/>
              <a:gd name="connsiteX24" fmla="*/ 1605514 w 2223004"/>
              <a:gd name="connsiteY24" fmla="*/ 2100407 h 2222994"/>
              <a:gd name="connsiteX25" fmla="*/ 2100352 w 2223004"/>
              <a:gd name="connsiteY25" fmla="*/ 617491 h 2222994"/>
              <a:gd name="connsiteX26" fmla="*/ 1461360 w 2223004"/>
              <a:gd name="connsiteY26" fmla="*/ 62939 h 2222994"/>
              <a:gd name="connsiteX27" fmla="*/ 1110399 w 2223004"/>
              <a:gd name="connsiteY27" fmla="*/ 5543 h 222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23004" h="2222994">
                <a:moveTo>
                  <a:pt x="1111576" y="2222995"/>
                </a:moveTo>
                <a:cubicBezTo>
                  <a:pt x="992186" y="2222995"/>
                  <a:pt x="874158" y="2203765"/>
                  <a:pt x="759732" y="2165580"/>
                </a:cubicBezTo>
                <a:cubicBezTo>
                  <a:pt x="622822" y="2119894"/>
                  <a:pt x="498046" y="2049390"/>
                  <a:pt x="388842" y="1956033"/>
                </a:cubicBezTo>
                <a:cubicBezTo>
                  <a:pt x="275777" y="1859385"/>
                  <a:pt x="184461" y="1742331"/>
                  <a:pt x="117413" y="1608124"/>
                </a:cubicBezTo>
                <a:cubicBezTo>
                  <a:pt x="50364" y="1473935"/>
                  <a:pt x="11609" y="1330609"/>
                  <a:pt x="2233" y="1182154"/>
                </a:cubicBezTo>
                <a:cubicBezTo>
                  <a:pt x="-6830" y="1038772"/>
                  <a:pt x="11720" y="896642"/>
                  <a:pt x="57405" y="759750"/>
                </a:cubicBezTo>
                <a:cubicBezTo>
                  <a:pt x="103091" y="622840"/>
                  <a:pt x="173596" y="498065"/>
                  <a:pt x="266953" y="388860"/>
                </a:cubicBezTo>
                <a:cubicBezTo>
                  <a:pt x="363619" y="275795"/>
                  <a:pt x="480673" y="184461"/>
                  <a:pt x="614862" y="117431"/>
                </a:cubicBezTo>
                <a:lnTo>
                  <a:pt x="616149" y="120023"/>
                </a:lnTo>
                <a:lnTo>
                  <a:pt x="614862" y="117431"/>
                </a:lnTo>
                <a:cubicBezTo>
                  <a:pt x="749051" y="50382"/>
                  <a:pt x="892358" y="11628"/>
                  <a:pt x="1040814" y="2233"/>
                </a:cubicBezTo>
                <a:cubicBezTo>
                  <a:pt x="1184195" y="-6830"/>
                  <a:pt x="1326307" y="11720"/>
                  <a:pt x="1463217" y="57405"/>
                </a:cubicBezTo>
                <a:cubicBezTo>
                  <a:pt x="1600127" y="103091"/>
                  <a:pt x="1724903" y="173596"/>
                  <a:pt x="1834126" y="266952"/>
                </a:cubicBezTo>
                <a:cubicBezTo>
                  <a:pt x="1947191" y="363618"/>
                  <a:pt x="2038525" y="480673"/>
                  <a:pt x="2105574" y="614862"/>
                </a:cubicBezTo>
                <a:cubicBezTo>
                  <a:pt x="2172622" y="749050"/>
                  <a:pt x="2211377" y="892358"/>
                  <a:pt x="2220771" y="1040813"/>
                </a:cubicBezTo>
                <a:cubicBezTo>
                  <a:pt x="2229835" y="1184194"/>
                  <a:pt x="2211285" y="1326307"/>
                  <a:pt x="2165599" y="1463216"/>
                </a:cubicBezTo>
                <a:cubicBezTo>
                  <a:pt x="2119913" y="1600126"/>
                  <a:pt x="2049409" y="1724902"/>
                  <a:pt x="1956052" y="1834106"/>
                </a:cubicBezTo>
                <a:cubicBezTo>
                  <a:pt x="1859386" y="1947171"/>
                  <a:pt x="1742350" y="2038506"/>
                  <a:pt x="1608143" y="2105536"/>
                </a:cubicBezTo>
                <a:cubicBezTo>
                  <a:pt x="1473935" y="2172584"/>
                  <a:pt x="1330628" y="2211339"/>
                  <a:pt x="1182172" y="2220715"/>
                </a:cubicBezTo>
                <a:cubicBezTo>
                  <a:pt x="1158604" y="2222204"/>
                  <a:pt x="1135071" y="2222940"/>
                  <a:pt x="1111594" y="2222940"/>
                </a:cubicBezTo>
                <a:close/>
                <a:moveTo>
                  <a:pt x="1110399" y="5524"/>
                </a:moveTo>
                <a:cubicBezTo>
                  <a:pt x="941243" y="5524"/>
                  <a:pt x="773153" y="44830"/>
                  <a:pt x="617436" y="122634"/>
                </a:cubicBezTo>
                <a:cubicBezTo>
                  <a:pt x="72168" y="395056"/>
                  <a:pt x="-149825" y="1060282"/>
                  <a:pt x="122579" y="1605568"/>
                </a:cubicBezTo>
                <a:cubicBezTo>
                  <a:pt x="315966" y="1992636"/>
                  <a:pt x="707410" y="2216799"/>
                  <a:pt x="1113267" y="2216836"/>
                </a:cubicBezTo>
                <a:cubicBezTo>
                  <a:pt x="1279133" y="2216836"/>
                  <a:pt x="1447314" y="2179423"/>
                  <a:pt x="1605514" y="2100407"/>
                </a:cubicBezTo>
                <a:cubicBezTo>
                  <a:pt x="2150781" y="1827966"/>
                  <a:pt x="2372775" y="1162740"/>
                  <a:pt x="2100352" y="617491"/>
                </a:cubicBezTo>
                <a:cubicBezTo>
                  <a:pt x="1968388" y="353341"/>
                  <a:pt x="1741449" y="156406"/>
                  <a:pt x="1461360" y="62939"/>
                </a:cubicBezTo>
                <a:cubicBezTo>
                  <a:pt x="1346402" y="24589"/>
                  <a:pt x="1228134" y="5543"/>
                  <a:pt x="1110399" y="5543"/>
                </a:cubicBezTo>
                <a:close/>
              </a:path>
            </a:pathLst>
          </a:custGeom>
          <a:solidFill>
            <a:srgbClr val="1478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090BEE38-C556-6879-4B5E-8876FBACACC9}"/>
              </a:ext>
            </a:extLst>
          </p:cNvPr>
          <p:cNvSpPr/>
          <p:nvPr/>
        </p:nvSpPr>
        <p:spPr>
          <a:xfrm>
            <a:off x="1285080" y="2846949"/>
            <a:ext cx="2246133" cy="2246095"/>
          </a:xfrm>
          <a:custGeom>
            <a:avLst/>
            <a:gdLst>
              <a:gd name="connsiteX0" fmla="*/ 1123940 w 2246133"/>
              <a:gd name="connsiteY0" fmla="*/ 2246095 h 2246095"/>
              <a:gd name="connsiteX1" fmla="*/ 1066120 w 2246133"/>
              <a:gd name="connsiteY1" fmla="*/ 2244606 h 2246095"/>
              <a:gd name="connsiteX2" fmla="*/ 1067610 w 2246133"/>
              <a:gd name="connsiteY2" fmla="*/ 2215669 h 2246095"/>
              <a:gd name="connsiteX3" fmla="*/ 1139383 w 2246133"/>
              <a:gd name="connsiteY3" fmla="*/ 2217011 h 2246095"/>
              <a:gd name="connsiteX4" fmla="*/ 1139787 w 2246133"/>
              <a:gd name="connsiteY4" fmla="*/ 2245985 h 2246095"/>
              <a:gd name="connsiteX5" fmla="*/ 1123921 w 2246133"/>
              <a:gd name="connsiteY5" fmla="*/ 2246095 h 2246095"/>
              <a:gd name="connsiteX6" fmla="*/ 890989 w 2246133"/>
              <a:gd name="connsiteY6" fmla="*/ 2221644 h 2246095"/>
              <a:gd name="connsiteX7" fmla="*/ 862236 w 2246133"/>
              <a:gd name="connsiteY7" fmla="*/ 2215154 h 2246095"/>
              <a:gd name="connsiteX8" fmla="*/ 868983 w 2246133"/>
              <a:gd name="connsiteY8" fmla="*/ 2186971 h 2246095"/>
              <a:gd name="connsiteX9" fmla="*/ 897001 w 2246133"/>
              <a:gd name="connsiteY9" fmla="*/ 2193295 h 2246095"/>
              <a:gd name="connsiteX10" fmla="*/ 890989 w 2246133"/>
              <a:gd name="connsiteY10" fmla="*/ 2221644 h 2246095"/>
              <a:gd name="connsiteX11" fmla="*/ 1361965 w 2246133"/>
              <a:gd name="connsiteY11" fmla="*/ 2220412 h 2246095"/>
              <a:gd name="connsiteX12" fmla="*/ 1355787 w 2246133"/>
              <a:gd name="connsiteY12" fmla="*/ 2192100 h 2246095"/>
              <a:gd name="connsiteX13" fmla="*/ 1383750 w 2246133"/>
              <a:gd name="connsiteY13" fmla="*/ 2185610 h 2246095"/>
              <a:gd name="connsiteX14" fmla="*/ 1390681 w 2246133"/>
              <a:gd name="connsiteY14" fmla="*/ 2213739 h 2246095"/>
              <a:gd name="connsiteX15" fmla="*/ 1361965 w 2246133"/>
              <a:gd name="connsiteY15" fmla="*/ 2220412 h 2246095"/>
              <a:gd name="connsiteX16" fmla="*/ 1558349 w 2246133"/>
              <a:gd name="connsiteY16" fmla="*/ 2158089 h 2246095"/>
              <a:gd name="connsiteX17" fmla="*/ 1547097 w 2246133"/>
              <a:gd name="connsiteY17" fmla="*/ 2131394 h 2246095"/>
              <a:gd name="connsiteX18" fmla="*/ 1611939 w 2246133"/>
              <a:gd name="connsiteY18" fmla="*/ 2101556 h 2246095"/>
              <a:gd name="connsiteX19" fmla="*/ 1612362 w 2246133"/>
              <a:gd name="connsiteY19" fmla="*/ 2101336 h 2246095"/>
              <a:gd name="connsiteX20" fmla="*/ 1625195 w 2246133"/>
              <a:gd name="connsiteY20" fmla="*/ 2127313 h 2246095"/>
              <a:gd name="connsiteX21" fmla="*/ 1624937 w 2246133"/>
              <a:gd name="connsiteY21" fmla="*/ 2127442 h 2246095"/>
              <a:gd name="connsiteX22" fmla="*/ 1558349 w 2246133"/>
              <a:gd name="connsiteY22" fmla="*/ 2158089 h 2246095"/>
              <a:gd name="connsiteX23" fmla="*/ 650997 w 2246133"/>
              <a:gd name="connsiteY23" fmla="*/ 2141837 h 2246095"/>
              <a:gd name="connsiteX24" fmla="*/ 585199 w 2246133"/>
              <a:gd name="connsiteY24" fmla="*/ 2108744 h 2246095"/>
              <a:gd name="connsiteX25" fmla="*/ 599061 w 2246133"/>
              <a:gd name="connsiteY25" fmla="*/ 2083300 h 2246095"/>
              <a:gd name="connsiteX26" fmla="*/ 663168 w 2246133"/>
              <a:gd name="connsiteY26" fmla="*/ 2115547 h 2246095"/>
              <a:gd name="connsiteX27" fmla="*/ 650997 w 2246133"/>
              <a:gd name="connsiteY27" fmla="*/ 2141837 h 2246095"/>
              <a:gd name="connsiteX28" fmla="*/ 437221 w 2246133"/>
              <a:gd name="connsiteY28" fmla="*/ 2012373 h 2246095"/>
              <a:gd name="connsiteX29" fmla="*/ 414149 w 2246133"/>
              <a:gd name="connsiteY29" fmla="*/ 1994117 h 2246095"/>
              <a:gd name="connsiteX30" fmla="*/ 432423 w 2246133"/>
              <a:gd name="connsiteY30" fmla="*/ 1971632 h 2246095"/>
              <a:gd name="connsiteX31" fmla="*/ 454889 w 2246133"/>
              <a:gd name="connsiteY31" fmla="*/ 1989410 h 2246095"/>
              <a:gd name="connsiteX32" fmla="*/ 437221 w 2246133"/>
              <a:gd name="connsiteY32" fmla="*/ 2012373 h 2246095"/>
              <a:gd name="connsiteX33" fmla="*/ 1814390 w 2246133"/>
              <a:gd name="connsiteY33" fmla="*/ 2008071 h 2246095"/>
              <a:gd name="connsiteX34" fmla="*/ 1796576 w 2246133"/>
              <a:gd name="connsiteY34" fmla="*/ 1985219 h 2246095"/>
              <a:gd name="connsiteX35" fmla="*/ 1818986 w 2246133"/>
              <a:gd name="connsiteY35" fmla="*/ 1967275 h 2246095"/>
              <a:gd name="connsiteX36" fmla="*/ 1837389 w 2246133"/>
              <a:gd name="connsiteY36" fmla="*/ 1989649 h 2246095"/>
              <a:gd name="connsiteX37" fmla="*/ 1814390 w 2246133"/>
              <a:gd name="connsiteY37" fmla="*/ 2008071 h 2246095"/>
              <a:gd name="connsiteX38" fmla="*/ 1964463 w 2246133"/>
              <a:gd name="connsiteY38" fmla="*/ 1866951 h 2246095"/>
              <a:gd name="connsiteX39" fmla="*/ 1942751 w 2246133"/>
              <a:gd name="connsiteY39" fmla="*/ 1847776 h 2246095"/>
              <a:gd name="connsiteX40" fmla="*/ 1988455 w 2246133"/>
              <a:gd name="connsiteY40" fmla="*/ 1792475 h 2246095"/>
              <a:gd name="connsiteX41" fmla="*/ 2011381 w 2246133"/>
              <a:gd name="connsiteY41" fmla="*/ 1810179 h 2246095"/>
              <a:gd name="connsiteX42" fmla="*/ 1964463 w 2246133"/>
              <a:gd name="connsiteY42" fmla="*/ 1866951 h 2246095"/>
              <a:gd name="connsiteX43" fmla="*/ 255692 w 2246133"/>
              <a:gd name="connsiteY43" fmla="*/ 1836432 h 2246095"/>
              <a:gd name="connsiteX44" fmla="*/ 210852 w 2246133"/>
              <a:gd name="connsiteY44" fmla="*/ 1777988 h 2246095"/>
              <a:gd name="connsiteX45" fmla="*/ 234403 w 2246133"/>
              <a:gd name="connsiteY45" fmla="*/ 1761111 h 2246095"/>
              <a:gd name="connsiteX46" fmla="*/ 278085 w 2246133"/>
              <a:gd name="connsiteY46" fmla="*/ 1818030 h 2246095"/>
              <a:gd name="connsiteX47" fmla="*/ 255692 w 2246133"/>
              <a:gd name="connsiteY47" fmla="*/ 1836414 h 2246095"/>
              <a:gd name="connsiteX48" fmla="*/ 119592 w 2246133"/>
              <a:gd name="connsiteY48" fmla="*/ 1626794 h 2246095"/>
              <a:gd name="connsiteX49" fmla="*/ 118636 w 2246133"/>
              <a:gd name="connsiteY49" fmla="*/ 1624881 h 2246095"/>
              <a:gd name="connsiteX50" fmla="*/ 106704 w 2246133"/>
              <a:gd name="connsiteY50" fmla="*/ 1600283 h 2246095"/>
              <a:gd name="connsiteX51" fmla="*/ 132920 w 2246133"/>
              <a:gd name="connsiteY51" fmla="*/ 1587965 h 2246095"/>
              <a:gd name="connsiteX52" fmla="*/ 144539 w 2246133"/>
              <a:gd name="connsiteY52" fmla="*/ 1611920 h 2246095"/>
              <a:gd name="connsiteX53" fmla="*/ 145495 w 2246133"/>
              <a:gd name="connsiteY53" fmla="*/ 1613814 h 2246095"/>
              <a:gd name="connsiteX54" fmla="*/ 119592 w 2246133"/>
              <a:gd name="connsiteY54" fmla="*/ 1626794 h 2246095"/>
              <a:gd name="connsiteX55" fmla="*/ 2129740 w 2246133"/>
              <a:gd name="connsiteY55" fmla="*/ 1620488 h 2246095"/>
              <a:gd name="connsiteX56" fmla="*/ 2103763 w 2246133"/>
              <a:gd name="connsiteY56" fmla="*/ 1607674 h 2246095"/>
              <a:gd name="connsiteX57" fmla="*/ 2116117 w 2246133"/>
              <a:gd name="connsiteY57" fmla="*/ 1581770 h 2246095"/>
              <a:gd name="connsiteX58" fmla="*/ 2142426 w 2246133"/>
              <a:gd name="connsiteY58" fmla="*/ 1593904 h 2246095"/>
              <a:gd name="connsiteX59" fmla="*/ 2129740 w 2246133"/>
              <a:gd name="connsiteY59" fmla="*/ 1620488 h 2246095"/>
              <a:gd name="connsiteX60" fmla="*/ 2203610 w 2246133"/>
              <a:gd name="connsiteY60" fmla="*/ 1428240 h 2246095"/>
              <a:gd name="connsiteX61" fmla="*/ 2175720 w 2246133"/>
              <a:gd name="connsiteY61" fmla="*/ 1420353 h 2246095"/>
              <a:gd name="connsiteX62" fmla="*/ 2192983 w 2246133"/>
              <a:gd name="connsiteY62" fmla="*/ 1350694 h 2246095"/>
              <a:gd name="connsiteX63" fmla="*/ 2221314 w 2246133"/>
              <a:gd name="connsiteY63" fmla="*/ 1356743 h 2246095"/>
              <a:gd name="connsiteX64" fmla="*/ 2203591 w 2246133"/>
              <a:gd name="connsiteY64" fmla="*/ 1428240 h 2246095"/>
              <a:gd name="connsiteX65" fmla="*/ 32081 w 2246133"/>
              <a:gd name="connsiteY65" fmla="*/ 1389486 h 2246095"/>
              <a:gd name="connsiteX66" fmla="*/ 16914 w 2246133"/>
              <a:gd name="connsiteY66" fmla="*/ 1317382 h 2246095"/>
              <a:gd name="connsiteX67" fmla="*/ 45447 w 2246133"/>
              <a:gd name="connsiteY67" fmla="*/ 1312363 h 2246095"/>
              <a:gd name="connsiteX68" fmla="*/ 60228 w 2246133"/>
              <a:gd name="connsiteY68" fmla="*/ 1382592 h 2246095"/>
              <a:gd name="connsiteX69" fmla="*/ 32081 w 2246133"/>
              <a:gd name="connsiteY69" fmla="*/ 1389486 h 2246095"/>
              <a:gd name="connsiteX70" fmla="*/ 147 w 2246133"/>
              <a:gd name="connsiteY70" fmla="*/ 1141515 h 2246095"/>
              <a:gd name="connsiteX71" fmla="*/ 0 w 2246133"/>
              <a:gd name="connsiteY71" fmla="*/ 1123921 h 2246095"/>
              <a:gd name="connsiteX72" fmla="*/ 55 w 2246133"/>
              <a:gd name="connsiteY72" fmla="*/ 1112026 h 2246095"/>
              <a:gd name="connsiteX73" fmla="*/ 29029 w 2246133"/>
              <a:gd name="connsiteY73" fmla="*/ 1112339 h 2246095"/>
              <a:gd name="connsiteX74" fmla="*/ 28974 w 2246133"/>
              <a:gd name="connsiteY74" fmla="*/ 1123921 h 2246095"/>
              <a:gd name="connsiteX75" fmla="*/ 29103 w 2246133"/>
              <a:gd name="connsiteY75" fmla="*/ 1141074 h 2246095"/>
              <a:gd name="connsiteX76" fmla="*/ 129 w 2246133"/>
              <a:gd name="connsiteY76" fmla="*/ 1141533 h 2246095"/>
              <a:gd name="connsiteX77" fmla="*/ 2246060 w 2246133"/>
              <a:gd name="connsiteY77" fmla="*/ 1134511 h 2246095"/>
              <a:gd name="connsiteX78" fmla="*/ 2217086 w 2246133"/>
              <a:gd name="connsiteY78" fmla="*/ 1134198 h 2246095"/>
              <a:gd name="connsiteX79" fmla="*/ 2217159 w 2246133"/>
              <a:gd name="connsiteY79" fmla="*/ 1122174 h 2246095"/>
              <a:gd name="connsiteX80" fmla="*/ 2217030 w 2246133"/>
              <a:gd name="connsiteY80" fmla="*/ 1105463 h 2246095"/>
              <a:gd name="connsiteX81" fmla="*/ 2246004 w 2246133"/>
              <a:gd name="connsiteY81" fmla="*/ 1105022 h 2246095"/>
              <a:gd name="connsiteX82" fmla="*/ 2246133 w 2246133"/>
              <a:gd name="connsiteY82" fmla="*/ 1122174 h 2246095"/>
              <a:gd name="connsiteX83" fmla="*/ 2246060 w 2246133"/>
              <a:gd name="connsiteY83" fmla="*/ 1134511 h 2246095"/>
              <a:gd name="connsiteX84" fmla="*/ 2200760 w 2246133"/>
              <a:gd name="connsiteY84" fmla="*/ 934156 h 2246095"/>
              <a:gd name="connsiteX85" fmla="*/ 2186016 w 2246133"/>
              <a:gd name="connsiteY85" fmla="*/ 863927 h 2246095"/>
              <a:gd name="connsiteX86" fmla="*/ 2214162 w 2246133"/>
              <a:gd name="connsiteY86" fmla="*/ 857033 h 2246095"/>
              <a:gd name="connsiteX87" fmla="*/ 2229311 w 2246133"/>
              <a:gd name="connsiteY87" fmla="*/ 929137 h 2246095"/>
              <a:gd name="connsiteX88" fmla="*/ 2200778 w 2246133"/>
              <a:gd name="connsiteY88" fmla="*/ 934156 h 2246095"/>
              <a:gd name="connsiteX89" fmla="*/ 53039 w 2246133"/>
              <a:gd name="connsiteY89" fmla="*/ 895824 h 2246095"/>
              <a:gd name="connsiteX90" fmla="*/ 24709 w 2246133"/>
              <a:gd name="connsiteY90" fmla="*/ 889794 h 2246095"/>
              <a:gd name="connsiteX91" fmla="*/ 42395 w 2246133"/>
              <a:gd name="connsiteY91" fmla="*/ 818296 h 2246095"/>
              <a:gd name="connsiteX92" fmla="*/ 70284 w 2246133"/>
              <a:gd name="connsiteY92" fmla="*/ 826165 h 2246095"/>
              <a:gd name="connsiteX93" fmla="*/ 53039 w 2246133"/>
              <a:gd name="connsiteY93" fmla="*/ 895824 h 2246095"/>
              <a:gd name="connsiteX94" fmla="*/ 129850 w 2246133"/>
              <a:gd name="connsiteY94" fmla="*/ 664712 h 2246095"/>
              <a:gd name="connsiteX95" fmla="*/ 103542 w 2246133"/>
              <a:gd name="connsiteY95" fmla="*/ 652596 h 2246095"/>
              <a:gd name="connsiteX96" fmla="*/ 116209 w 2246133"/>
              <a:gd name="connsiteY96" fmla="*/ 626012 h 2246095"/>
              <a:gd name="connsiteX97" fmla="*/ 142204 w 2246133"/>
              <a:gd name="connsiteY97" fmla="*/ 638826 h 2246095"/>
              <a:gd name="connsiteX98" fmla="*/ 129850 w 2246133"/>
              <a:gd name="connsiteY98" fmla="*/ 664730 h 2246095"/>
              <a:gd name="connsiteX99" fmla="*/ 2113378 w 2246133"/>
              <a:gd name="connsiteY99" fmla="*/ 658535 h 2246095"/>
              <a:gd name="connsiteX100" fmla="*/ 2101594 w 2246133"/>
              <a:gd name="connsiteY100" fmla="*/ 634193 h 2246095"/>
              <a:gd name="connsiteX101" fmla="*/ 2100840 w 2246133"/>
              <a:gd name="connsiteY101" fmla="*/ 632667 h 2246095"/>
              <a:gd name="connsiteX102" fmla="*/ 2126744 w 2246133"/>
              <a:gd name="connsiteY102" fmla="*/ 619688 h 2246095"/>
              <a:gd name="connsiteX103" fmla="*/ 2127498 w 2246133"/>
              <a:gd name="connsiteY103" fmla="*/ 621195 h 2246095"/>
              <a:gd name="connsiteX104" fmla="*/ 2139613 w 2246133"/>
              <a:gd name="connsiteY104" fmla="*/ 646198 h 2246095"/>
              <a:gd name="connsiteX105" fmla="*/ 2113378 w 2246133"/>
              <a:gd name="connsiteY105" fmla="*/ 658516 h 2246095"/>
              <a:gd name="connsiteX106" fmla="*/ 2011969 w 2246133"/>
              <a:gd name="connsiteY106" fmla="*/ 485334 h 2246095"/>
              <a:gd name="connsiteX107" fmla="*/ 1968324 w 2246133"/>
              <a:gd name="connsiteY107" fmla="*/ 428397 h 2246095"/>
              <a:gd name="connsiteX108" fmla="*/ 1990716 w 2246133"/>
              <a:gd name="connsiteY108" fmla="*/ 410012 h 2246095"/>
              <a:gd name="connsiteX109" fmla="*/ 2035538 w 2246133"/>
              <a:gd name="connsiteY109" fmla="*/ 468475 h 2246095"/>
              <a:gd name="connsiteX110" fmla="*/ 2011969 w 2246133"/>
              <a:gd name="connsiteY110" fmla="*/ 485334 h 2246095"/>
              <a:gd name="connsiteX111" fmla="*/ 257402 w 2246133"/>
              <a:gd name="connsiteY111" fmla="*/ 453951 h 2246095"/>
              <a:gd name="connsiteX112" fmla="*/ 234458 w 2246133"/>
              <a:gd name="connsiteY112" fmla="*/ 436247 h 2246095"/>
              <a:gd name="connsiteX113" fmla="*/ 281357 w 2246133"/>
              <a:gd name="connsiteY113" fmla="*/ 379457 h 2246095"/>
              <a:gd name="connsiteX114" fmla="*/ 303088 w 2246133"/>
              <a:gd name="connsiteY114" fmla="*/ 398632 h 2246095"/>
              <a:gd name="connsiteX115" fmla="*/ 257402 w 2246133"/>
              <a:gd name="connsiteY115" fmla="*/ 453951 h 2246095"/>
              <a:gd name="connsiteX116" fmla="*/ 426816 w 2246133"/>
              <a:gd name="connsiteY116" fmla="*/ 279096 h 2246095"/>
              <a:gd name="connsiteX117" fmla="*/ 408394 w 2246133"/>
              <a:gd name="connsiteY117" fmla="*/ 256722 h 2246095"/>
              <a:gd name="connsiteX118" fmla="*/ 431394 w 2246133"/>
              <a:gd name="connsiteY118" fmla="*/ 238282 h 2246095"/>
              <a:gd name="connsiteX119" fmla="*/ 449208 w 2246133"/>
              <a:gd name="connsiteY119" fmla="*/ 261134 h 2246095"/>
              <a:gd name="connsiteX120" fmla="*/ 426816 w 2246133"/>
              <a:gd name="connsiteY120" fmla="*/ 279077 h 2246095"/>
              <a:gd name="connsiteX121" fmla="*/ 1814022 w 2246133"/>
              <a:gd name="connsiteY121" fmla="*/ 274739 h 2246095"/>
              <a:gd name="connsiteX122" fmla="*/ 1791557 w 2246133"/>
              <a:gd name="connsiteY122" fmla="*/ 256942 h 2246095"/>
              <a:gd name="connsiteX123" fmla="*/ 1809243 w 2246133"/>
              <a:gd name="connsiteY123" fmla="*/ 233999 h 2246095"/>
              <a:gd name="connsiteX124" fmla="*/ 1832315 w 2246133"/>
              <a:gd name="connsiteY124" fmla="*/ 252254 h 2246095"/>
              <a:gd name="connsiteX125" fmla="*/ 1814022 w 2246133"/>
              <a:gd name="connsiteY125" fmla="*/ 274739 h 2246095"/>
              <a:gd name="connsiteX126" fmla="*/ 1647440 w 2246133"/>
              <a:gd name="connsiteY126" fmla="*/ 162997 h 2246095"/>
              <a:gd name="connsiteX127" fmla="*/ 1583333 w 2246133"/>
              <a:gd name="connsiteY127" fmla="*/ 130733 h 2246095"/>
              <a:gd name="connsiteX128" fmla="*/ 1595504 w 2246133"/>
              <a:gd name="connsiteY128" fmla="*/ 104443 h 2246095"/>
              <a:gd name="connsiteX129" fmla="*/ 1661302 w 2246133"/>
              <a:gd name="connsiteY129" fmla="*/ 137553 h 2246095"/>
              <a:gd name="connsiteX130" fmla="*/ 1647440 w 2246133"/>
              <a:gd name="connsiteY130" fmla="*/ 162997 h 2246095"/>
              <a:gd name="connsiteX131" fmla="*/ 633440 w 2246133"/>
              <a:gd name="connsiteY131" fmla="*/ 144907 h 2246095"/>
              <a:gd name="connsiteX132" fmla="*/ 620479 w 2246133"/>
              <a:gd name="connsiteY132" fmla="*/ 118985 h 2246095"/>
              <a:gd name="connsiteX133" fmla="*/ 621269 w 2246133"/>
              <a:gd name="connsiteY133" fmla="*/ 118599 h 2246095"/>
              <a:gd name="connsiteX134" fmla="*/ 688189 w 2246133"/>
              <a:gd name="connsiteY134" fmla="*/ 87823 h 2246095"/>
              <a:gd name="connsiteX135" fmla="*/ 699440 w 2246133"/>
              <a:gd name="connsiteY135" fmla="*/ 114517 h 2246095"/>
              <a:gd name="connsiteX136" fmla="*/ 634212 w 2246133"/>
              <a:gd name="connsiteY136" fmla="*/ 144521 h 2246095"/>
              <a:gd name="connsiteX137" fmla="*/ 633440 w 2246133"/>
              <a:gd name="connsiteY137" fmla="*/ 144907 h 2246095"/>
              <a:gd name="connsiteX138" fmla="*/ 862787 w 2246133"/>
              <a:gd name="connsiteY138" fmla="*/ 60375 h 2246095"/>
              <a:gd name="connsiteX139" fmla="*/ 855875 w 2246133"/>
              <a:gd name="connsiteY139" fmla="*/ 32247 h 2246095"/>
              <a:gd name="connsiteX140" fmla="*/ 884591 w 2246133"/>
              <a:gd name="connsiteY140" fmla="*/ 25591 h 2246095"/>
              <a:gd name="connsiteX141" fmla="*/ 890768 w 2246133"/>
              <a:gd name="connsiteY141" fmla="*/ 53903 h 2246095"/>
              <a:gd name="connsiteX142" fmla="*/ 862806 w 2246133"/>
              <a:gd name="connsiteY142" fmla="*/ 60393 h 2246095"/>
              <a:gd name="connsiteX143" fmla="*/ 1377573 w 2246133"/>
              <a:gd name="connsiteY143" fmla="*/ 59217 h 2246095"/>
              <a:gd name="connsiteX144" fmla="*/ 1349555 w 2246133"/>
              <a:gd name="connsiteY144" fmla="*/ 52892 h 2246095"/>
              <a:gd name="connsiteX145" fmla="*/ 1355567 w 2246133"/>
              <a:gd name="connsiteY145" fmla="*/ 24543 h 2246095"/>
              <a:gd name="connsiteX146" fmla="*/ 1384320 w 2246133"/>
              <a:gd name="connsiteY146" fmla="*/ 31051 h 2246095"/>
              <a:gd name="connsiteX147" fmla="*/ 1377555 w 2246133"/>
              <a:gd name="connsiteY147" fmla="*/ 59235 h 2246095"/>
              <a:gd name="connsiteX148" fmla="*/ 1178928 w 2246133"/>
              <a:gd name="connsiteY148" fmla="*/ 30445 h 2246095"/>
              <a:gd name="connsiteX149" fmla="*/ 1122193 w 2246133"/>
              <a:gd name="connsiteY149" fmla="*/ 28974 h 2246095"/>
              <a:gd name="connsiteX150" fmla="*/ 1107155 w 2246133"/>
              <a:gd name="connsiteY150" fmla="*/ 29084 h 2246095"/>
              <a:gd name="connsiteX151" fmla="*/ 1106750 w 2246133"/>
              <a:gd name="connsiteY151" fmla="*/ 110 h 2246095"/>
              <a:gd name="connsiteX152" fmla="*/ 1122175 w 2246133"/>
              <a:gd name="connsiteY152" fmla="*/ 0 h 2246095"/>
              <a:gd name="connsiteX153" fmla="*/ 1180417 w 2246133"/>
              <a:gd name="connsiteY153" fmla="*/ 1508 h 2246095"/>
              <a:gd name="connsiteX154" fmla="*/ 1178910 w 2246133"/>
              <a:gd name="connsiteY154" fmla="*/ 30445 h 224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246133" h="2246095">
                <a:moveTo>
                  <a:pt x="1123940" y="2246095"/>
                </a:moveTo>
                <a:cubicBezTo>
                  <a:pt x="1104746" y="2246095"/>
                  <a:pt x="1085295" y="2245599"/>
                  <a:pt x="1066120" y="2244606"/>
                </a:cubicBezTo>
                <a:lnTo>
                  <a:pt x="1067610" y="2215669"/>
                </a:lnTo>
                <a:cubicBezTo>
                  <a:pt x="1091436" y="2216901"/>
                  <a:pt x="1115814" y="2217342"/>
                  <a:pt x="1139383" y="2217011"/>
                </a:cubicBezTo>
                <a:lnTo>
                  <a:pt x="1139787" y="2245985"/>
                </a:lnTo>
                <a:cubicBezTo>
                  <a:pt x="1134548" y="2246059"/>
                  <a:pt x="1129216" y="2246095"/>
                  <a:pt x="1123921" y="2246095"/>
                </a:cubicBezTo>
                <a:close/>
                <a:moveTo>
                  <a:pt x="890989" y="2221644"/>
                </a:moveTo>
                <a:cubicBezTo>
                  <a:pt x="881429" y="2219622"/>
                  <a:pt x="871759" y="2217434"/>
                  <a:pt x="862236" y="2215154"/>
                </a:cubicBezTo>
                <a:lnTo>
                  <a:pt x="868983" y="2186971"/>
                </a:lnTo>
                <a:cubicBezTo>
                  <a:pt x="878249" y="2189195"/>
                  <a:pt x="887680" y="2191309"/>
                  <a:pt x="897001" y="2193295"/>
                </a:cubicBezTo>
                <a:lnTo>
                  <a:pt x="890989" y="2221644"/>
                </a:lnTo>
                <a:close/>
                <a:moveTo>
                  <a:pt x="1361965" y="2220412"/>
                </a:moveTo>
                <a:lnTo>
                  <a:pt x="1355787" y="2192100"/>
                </a:lnTo>
                <a:cubicBezTo>
                  <a:pt x="1365108" y="2190059"/>
                  <a:pt x="1374521" y="2187872"/>
                  <a:pt x="1383750" y="2185610"/>
                </a:cubicBezTo>
                <a:lnTo>
                  <a:pt x="1390681" y="2213739"/>
                </a:lnTo>
                <a:cubicBezTo>
                  <a:pt x="1381195" y="2216073"/>
                  <a:pt x="1371525" y="2218316"/>
                  <a:pt x="1361965" y="2220412"/>
                </a:cubicBezTo>
                <a:close/>
                <a:moveTo>
                  <a:pt x="1558349" y="2158089"/>
                </a:moveTo>
                <a:lnTo>
                  <a:pt x="1547097" y="2131394"/>
                </a:lnTo>
                <a:cubicBezTo>
                  <a:pt x="1568883" y="2122202"/>
                  <a:pt x="1590705" y="2112164"/>
                  <a:pt x="1611939" y="2101556"/>
                </a:cubicBezTo>
                <a:lnTo>
                  <a:pt x="1612362" y="2101336"/>
                </a:lnTo>
                <a:lnTo>
                  <a:pt x="1625195" y="2127313"/>
                </a:lnTo>
                <a:lnTo>
                  <a:pt x="1624937" y="2127442"/>
                </a:lnTo>
                <a:cubicBezTo>
                  <a:pt x="1603078" y="2138362"/>
                  <a:pt x="1580704" y="2148657"/>
                  <a:pt x="1558349" y="2158089"/>
                </a:cubicBezTo>
                <a:close/>
                <a:moveTo>
                  <a:pt x="650997" y="2141837"/>
                </a:moveTo>
                <a:cubicBezTo>
                  <a:pt x="628789" y="2131560"/>
                  <a:pt x="606654" y="2120437"/>
                  <a:pt x="585199" y="2108744"/>
                </a:cubicBezTo>
                <a:lnTo>
                  <a:pt x="599061" y="2083300"/>
                </a:lnTo>
                <a:cubicBezTo>
                  <a:pt x="619964" y="2094680"/>
                  <a:pt x="641529" y="2105527"/>
                  <a:pt x="663168" y="2115547"/>
                </a:cubicBezTo>
                <a:lnTo>
                  <a:pt x="650997" y="2141837"/>
                </a:lnTo>
                <a:close/>
                <a:moveTo>
                  <a:pt x="437221" y="2012373"/>
                </a:moveTo>
                <a:cubicBezTo>
                  <a:pt x="429482" y="2006416"/>
                  <a:pt x="421723" y="2000275"/>
                  <a:pt x="414149" y="1994117"/>
                </a:cubicBezTo>
                <a:lnTo>
                  <a:pt x="432423" y="1971632"/>
                </a:lnTo>
                <a:cubicBezTo>
                  <a:pt x="439795" y="1977626"/>
                  <a:pt x="447351" y="1983601"/>
                  <a:pt x="454889" y="1989410"/>
                </a:cubicBezTo>
                <a:lnTo>
                  <a:pt x="437221" y="2012373"/>
                </a:lnTo>
                <a:close/>
                <a:moveTo>
                  <a:pt x="1814390" y="2008071"/>
                </a:moveTo>
                <a:lnTo>
                  <a:pt x="1796576" y="1985219"/>
                </a:lnTo>
                <a:cubicBezTo>
                  <a:pt x="1804076" y="1979372"/>
                  <a:pt x="1811614" y="1973342"/>
                  <a:pt x="1818986" y="1967275"/>
                </a:cubicBezTo>
                <a:lnTo>
                  <a:pt x="1837389" y="1989649"/>
                </a:lnTo>
                <a:cubicBezTo>
                  <a:pt x="1829815" y="1995882"/>
                  <a:pt x="1822075" y="2002077"/>
                  <a:pt x="1814390" y="2008071"/>
                </a:cubicBezTo>
                <a:close/>
                <a:moveTo>
                  <a:pt x="1964463" y="1866951"/>
                </a:moveTo>
                <a:lnTo>
                  <a:pt x="1942751" y="1847776"/>
                </a:lnTo>
                <a:cubicBezTo>
                  <a:pt x="1958507" y="1829943"/>
                  <a:pt x="1973894" y="1811338"/>
                  <a:pt x="1988455" y="1792475"/>
                </a:cubicBezTo>
                <a:lnTo>
                  <a:pt x="2011381" y="1810179"/>
                </a:lnTo>
                <a:cubicBezTo>
                  <a:pt x="1996434" y="1829538"/>
                  <a:pt x="1980642" y="1848640"/>
                  <a:pt x="1964463" y="1866951"/>
                </a:cubicBezTo>
                <a:close/>
                <a:moveTo>
                  <a:pt x="255692" y="1836432"/>
                </a:moveTo>
                <a:cubicBezTo>
                  <a:pt x="240176" y="1817533"/>
                  <a:pt x="225100" y="1797880"/>
                  <a:pt x="210852" y="1777988"/>
                </a:cubicBezTo>
                <a:lnTo>
                  <a:pt x="234403" y="1761111"/>
                </a:lnTo>
                <a:cubicBezTo>
                  <a:pt x="248265" y="1780470"/>
                  <a:pt x="262973" y="1799627"/>
                  <a:pt x="278085" y="1818030"/>
                </a:cubicBezTo>
                <a:lnTo>
                  <a:pt x="255692" y="1836414"/>
                </a:lnTo>
                <a:close/>
                <a:moveTo>
                  <a:pt x="119592" y="1626794"/>
                </a:moveTo>
                <a:lnTo>
                  <a:pt x="118636" y="1624881"/>
                </a:lnTo>
                <a:cubicBezTo>
                  <a:pt x="114573" y="1616755"/>
                  <a:pt x="110565" y="1608482"/>
                  <a:pt x="106704" y="1600283"/>
                </a:cubicBezTo>
                <a:lnTo>
                  <a:pt x="132920" y="1587965"/>
                </a:lnTo>
                <a:cubicBezTo>
                  <a:pt x="136671" y="1595944"/>
                  <a:pt x="140587" y="1604015"/>
                  <a:pt x="144539" y="1611920"/>
                </a:cubicBezTo>
                <a:lnTo>
                  <a:pt x="145495" y="1613814"/>
                </a:lnTo>
                <a:lnTo>
                  <a:pt x="119592" y="1626794"/>
                </a:lnTo>
                <a:close/>
                <a:moveTo>
                  <a:pt x="2129740" y="1620488"/>
                </a:moveTo>
                <a:lnTo>
                  <a:pt x="2103763" y="1607674"/>
                </a:lnTo>
                <a:cubicBezTo>
                  <a:pt x="2107992" y="1599125"/>
                  <a:pt x="2112147" y="1590410"/>
                  <a:pt x="2116117" y="1581770"/>
                </a:cubicBezTo>
                <a:lnTo>
                  <a:pt x="2142426" y="1593904"/>
                </a:lnTo>
                <a:cubicBezTo>
                  <a:pt x="2138345" y="1602765"/>
                  <a:pt x="2134079" y="1611700"/>
                  <a:pt x="2129740" y="1620488"/>
                </a:cubicBezTo>
                <a:close/>
                <a:moveTo>
                  <a:pt x="2203610" y="1428240"/>
                </a:moveTo>
                <a:lnTo>
                  <a:pt x="2175720" y="1420353"/>
                </a:lnTo>
                <a:cubicBezTo>
                  <a:pt x="2182210" y="1397428"/>
                  <a:pt x="2188020" y="1373988"/>
                  <a:pt x="2192983" y="1350694"/>
                </a:cubicBezTo>
                <a:lnTo>
                  <a:pt x="2221314" y="1356743"/>
                </a:lnTo>
                <a:cubicBezTo>
                  <a:pt x="2216203" y="1380661"/>
                  <a:pt x="2210247" y="1404708"/>
                  <a:pt x="2203591" y="1428240"/>
                </a:cubicBezTo>
                <a:close/>
                <a:moveTo>
                  <a:pt x="32081" y="1389486"/>
                </a:moveTo>
                <a:cubicBezTo>
                  <a:pt x="26253" y="1365733"/>
                  <a:pt x="21142" y="1341465"/>
                  <a:pt x="16914" y="1317382"/>
                </a:cubicBezTo>
                <a:lnTo>
                  <a:pt x="45447" y="1312363"/>
                </a:lnTo>
                <a:cubicBezTo>
                  <a:pt x="49583" y="1335821"/>
                  <a:pt x="54547" y="1359445"/>
                  <a:pt x="60228" y="1382592"/>
                </a:cubicBezTo>
                <a:lnTo>
                  <a:pt x="32081" y="1389486"/>
                </a:lnTo>
                <a:close/>
                <a:moveTo>
                  <a:pt x="147" y="1141515"/>
                </a:moveTo>
                <a:cubicBezTo>
                  <a:pt x="55" y="1135687"/>
                  <a:pt x="0" y="1129767"/>
                  <a:pt x="0" y="1123921"/>
                </a:cubicBezTo>
                <a:cubicBezTo>
                  <a:pt x="0" y="1119950"/>
                  <a:pt x="18" y="1115997"/>
                  <a:pt x="55" y="1112026"/>
                </a:cubicBezTo>
                <a:lnTo>
                  <a:pt x="29029" y="1112339"/>
                </a:lnTo>
                <a:cubicBezTo>
                  <a:pt x="28992" y="1116199"/>
                  <a:pt x="28974" y="1120060"/>
                  <a:pt x="28974" y="1123921"/>
                </a:cubicBezTo>
                <a:cubicBezTo>
                  <a:pt x="28974" y="1129620"/>
                  <a:pt x="29029" y="1135393"/>
                  <a:pt x="29103" y="1141074"/>
                </a:cubicBezTo>
                <a:lnTo>
                  <a:pt x="129" y="1141533"/>
                </a:lnTo>
                <a:close/>
                <a:moveTo>
                  <a:pt x="2246060" y="1134511"/>
                </a:moveTo>
                <a:lnTo>
                  <a:pt x="2217086" y="1134198"/>
                </a:lnTo>
                <a:cubicBezTo>
                  <a:pt x="2217122" y="1130190"/>
                  <a:pt x="2217159" y="1126182"/>
                  <a:pt x="2217159" y="1122174"/>
                </a:cubicBezTo>
                <a:cubicBezTo>
                  <a:pt x="2217159" y="1116659"/>
                  <a:pt x="2217122" y="1111033"/>
                  <a:pt x="2217030" y="1105463"/>
                </a:cubicBezTo>
                <a:lnTo>
                  <a:pt x="2246004" y="1105022"/>
                </a:lnTo>
                <a:cubicBezTo>
                  <a:pt x="2246096" y="1110739"/>
                  <a:pt x="2246133" y="1116512"/>
                  <a:pt x="2246133" y="1122174"/>
                </a:cubicBezTo>
                <a:cubicBezTo>
                  <a:pt x="2246133" y="1126293"/>
                  <a:pt x="2246115" y="1130392"/>
                  <a:pt x="2246060" y="1134511"/>
                </a:cubicBezTo>
                <a:close/>
                <a:moveTo>
                  <a:pt x="2200760" y="934156"/>
                </a:moveTo>
                <a:cubicBezTo>
                  <a:pt x="2196642" y="910697"/>
                  <a:pt x="2191678" y="887073"/>
                  <a:pt x="2186016" y="863927"/>
                </a:cubicBezTo>
                <a:lnTo>
                  <a:pt x="2214162" y="857033"/>
                </a:lnTo>
                <a:cubicBezTo>
                  <a:pt x="2219972" y="880804"/>
                  <a:pt x="2225083" y="905053"/>
                  <a:pt x="2229311" y="929137"/>
                </a:cubicBezTo>
                <a:lnTo>
                  <a:pt x="2200778" y="934156"/>
                </a:lnTo>
                <a:close/>
                <a:moveTo>
                  <a:pt x="53039" y="895824"/>
                </a:moveTo>
                <a:lnTo>
                  <a:pt x="24709" y="889794"/>
                </a:lnTo>
                <a:cubicBezTo>
                  <a:pt x="29801" y="865875"/>
                  <a:pt x="35758" y="841828"/>
                  <a:pt x="42395" y="818296"/>
                </a:cubicBezTo>
                <a:lnTo>
                  <a:pt x="70284" y="826165"/>
                </a:lnTo>
                <a:cubicBezTo>
                  <a:pt x="63813" y="849090"/>
                  <a:pt x="58003" y="872531"/>
                  <a:pt x="53039" y="895824"/>
                </a:cubicBezTo>
                <a:close/>
                <a:moveTo>
                  <a:pt x="129850" y="664712"/>
                </a:moveTo>
                <a:lnTo>
                  <a:pt x="103542" y="652596"/>
                </a:lnTo>
                <a:cubicBezTo>
                  <a:pt x="107623" y="643717"/>
                  <a:pt x="111888" y="634782"/>
                  <a:pt x="116209" y="626012"/>
                </a:cubicBezTo>
                <a:lnTo>
                  <a:pt x="142204" y="638826"/>
                </a:lnTo>
                <a:cubicBezTo>
                  <a:pt x="137994" y="647375"/>
                  <a:pt x="133840" y="656089"/>
                  <a:pt x="129850" y="664730"/>
                </a:cubicBezTo>
                <a:close/>
                <a:moveTo>
                  <a:pt x="2113378" y="658535"/>
                </a:moveTo>
                <a:cubicBezTo>
                  <a:pt x="2109573" y="650427"/>
                  <a:pt x="2105602" y="642246"/>
                  <a:pt x="2101594" y="634193"/>
                </a:cubicBezTo>
                <a:lnTo>
                  <a:pt x="2100840" y="632667"/>
                </a:lnTo>
                <a:lnTo>
                  <a:pt x="2126744" y="619688"/>
                </a:lnTo>
                <a:lnTo>
                  <a:pt x="2127498" y="621195"/>
                </a:lnTo>
                <a:cubicBezTo>
                  <a:pt x="2131634" y="629487"/>
                  <a:pt x="2135715" y="637889"/>
                  <a:pt x="2139613" y="646198"/>
                </a:cubicBezTo>
                <a:lnTo>
                  <a:pt x="2113378" y="658516"/>
                </a:lnTo>
                <a:close/>
                <a:moveTo>
                  <a:pt x="2011969" y="485334"/>
                </a:moveTo>
                <a:cubicBezTo>
                  <a:pt x="1998107" y="465956"/>
                  <a:pt x="1983418" y="446800"/>
                  <a:pt x="1968324" y="428397"/>
                </a:cubicBezTo>
                <a:lnTo>
                  <a:pt x="1990716" y="410012"/>
                </a:lnTo>
                <a:cubicBezTo>
                  <a:pt x="2006215" y="428912"/>
                  <a:pt x="2021290" y="448565"/>
                  <a:pt x="2035538" y="468475"/>
                </a:cubicBezTo>
                <a:lnTo>
                  <a:pt x="2011969" y="485334"/>
                </a:lnTo>
                <a:close/>
                <a:moveTo>
                  <a:pt x="257402" y="453951"/>
                </a:moveTo>
                <a:lnTo>
                  <a:pt x="234458" y="436247"/>
                </a:lnTo>
                <a:cubicBezTo>
                  <a:pt x="249405" y="416888"/>
                  <a:pt x="265179" y="397768"/>
                  <a:pt x="281357" y="379457"/>
                </a:cubicBezTo>
                <a:lnTo>
                  <a:pt x="303088" y="398632"/>
                </a:lnTo>
                <a:cubicBezTo>
                  <a:pt x="287332" y="416484"/>
                  <a:pt x="271963" y="435089"/>
                  <a:pt x="257402" y="453951"/>
                </a:cubicBezTo>
                <a:close/>
                <a:moveTo>
                  <a:pt x="426816" y="279096"/>
                </a:moveTo>
                <a:lnTo>
                  <a:pt x="408394" y="256722"/>
                </a:lnTo>
                <a:cubicBezTo>
                  <a:pt x="415951" y="250489"/>
                  <a:pt x="423690" y="244294"/>
                  <a:pt x="431394" y="238282"/>
                </a:cubicBezTo>
                <a:lnTo>
                  <a:pt x="449208" y="261134"/>
                </a:lnTo>
                <a:cubicBezTo>
                  <a:pt x="441707" y="266980"/>
                  <a:pt x="434170" y="273029"/>
                  <a:pt x="426816" y="279077"/>
                </a:cubicBezTo>
                <a:close/>
                <a:moveTo>
                  <a:pt x="1814022" y="274739"/>
                </a:moveTo>
                <a:cubicBezTo>
                  <a:pt x="1806650" y="268727"/>
                  <a:pt x="1799076" y="262752"/>
                  <a:pt x="1791557" y="256942"/>
                </a:cubicBezTo>
                <a:lnTo>
                  <a:pt x="1809243" y="233999"/>
                </a:lnTo>
                <a:cubicBezTo>
                  <a:pt x="1816964" y="239955"/>
                  <a:pt x="1824722" y="246096"/>
                  <a:pt x="1832315" y="252254"/>
                </a:cubicBezTo>
                <a:lnTo>
                  <a:pt x="1814022" y="274739"/>
                </a:lnTo>
                <a:close/>
                <a:moveTo>
                  <a:pt x="1647440" y="162997"/>
                </a:moveTo>
                <a:cubicBezTo>
                  <a:pt x="1626537" y="151599"/>
                  <a:pt x="1604972" y="140752"/>
                  <a:pt x="1583333" y="130733"/>
                </a:cubicBezTo>
                <a:lnTo>
                  <a:pt x="1595504" y="104443"/>
                </a:lnTo>
                <a:cubicBezTo>
                  <a:pt x="1617694" y="114720"/>
                  <a:pt x="1639829" y="125861"/>
                  <a:pt x="1661302" y="137553"/>
                </a:cubicBezTo>
                <a:lnTo>
                  <a:pt x="1647440" y="162997"/>
                </a:lnTo>
                <a:close/>
                <a:moveTo>
                  <a:pt x="633440" y="144907"/>
                </a:moveTo>
                <a:lnTo>
                  <a:pt x="620479" y="118985"/>
                </a:lnTo>
                <a:lnTo>
                  <a:pt x="621269" y="118599"/>
                </a:lnTo>
                <a:cubicBezTo>
                  <a:pt x="643184" y="107660"/>
                  <a:pt x="665705" y="97291"/>
                  <a:pt x="688189" y="87823"/>
                </a:cubicBezTo>
                <a:lnTo>
                  <a:pt x="699440" y="114517"/>
                </a:lnTo>
                <a:cubicBezTo>
                  <a:pt x="677526" y="123746"/>
                  <a:pt x="655575" y="133840"/>
                  <a:pt x="634212" y="144521"/>
                </a:cubicBezTo>
                <a:lnTo>
                  <a:pt x="633440" y="144907"/>
                </a:lnTo>
                <a:close/>
                <a:moveTo>
                  <a:pt x="862787" y="60375"/>
                </a:moveTo>
                <a:lnTo>
                  <a:pt x="855875" y="32247"/>
                </a:lnTo>
                <a:cubicBezTo>
                  <a:pt x="865361" y="29912"/>
                  <a:pt x="875031" y="27669"/>
                  <a:pt x="884591" y="25591"/>
                </a:cubicBezTo>
                <a:lnTo>
                  <a:pt x="890768" y="53903"/>
                </a:lnTo>
                <a:cubicBezTo>
                  <a:pt x="881447" y="55926"/>
                  <a:pt x="872035" y="58114"/>
                  <a:pt x="862806" y="60393"/>
                </a:cubicBezTo>
                <a:close/>
                <a:moveTo>
                  <a:pt x="1377573" y="59217"/>
                </a:moveTo>
                <a:cubicBezTo>
                  <a:pt x="1368326" y="56992"/>
                  <a:pt x="1358894" y="54860"/>
                  <a:pt x="1349555" y="52892"/>
                </a:cubicBezTo>
                <a:lnTo>
                  <a:pt x="1355567" y="24543"/>
                </a:lnTo>
                <a:cubicBezTo>
                  <a:pt x="1365145" y="26584"/>
                  <a:pt x="1374834" y="28772"/>
                  <a:pt x="1384320" y="31051"/>
                </a:cubicBezTo>
                <a:lnTo>
                  <a:pt x="1377555" y="59235"/>
                </a:lnTo>
                <a:close/>
                <a:moveTo>
                  <a:pt x="1178928" y="30445"/>
                </a:moveTo>
                <a:cubicBezTo>
                  <a:pt x="1160121" y="29470"/>
                  <a:pt x="1141019" y="28974"/>
                  <a:pt x="1122193" y="28974"/>
                </a:cubicBezTo>
                <a:cubicBezTo>
                  <a:pt x="1117174" y="28974"/>
                  <a:pt x="1112119" y="29011"/>
                  <a:pt x="1107155" y="29084"/>
                </a:cubicBezTo>
                <a:lnTo>
                  <a:pt x="1106750" y="110"/>
                </a:lnTo>
                <a:cubicBezTo>
                  <a:pt x="1111843" y="37"/>
                  <a:pt x="1117027" y="0"/>
                  <a:pt x="1122175" y="0"/>
                </a:cubicBezTo>
                <a:cubicBezTo>
                  <a:pt x="1141515" y="0"/>
                  <a:pt x="1161113" y="515"/>
                  <a:pt x="1180417" y="1508"/>
                </a:cubicBezTo>
                <a:lnTo>
                  <a:pt x="1178910" y="30445"/>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DFC0397A-6128-B96C-3A1F-6F9783966BA1}"/>
              </a:ext>
            </a:extLst>
          </p:cNvPr>
          <p:cNvSpPr/>
          <p:nvPr/>
        </p:nvSpPr>
        <p:spPr>
          <a:xfrm>
            <a:off x="2607886" y="5310644"/>
            <a:ext cx="118249" cy="73887"/>
          </a:xfrm>
          <a:custGeom>
            <a:avLst/>
            <a:gdLst>
              <a:gd name="connsiteX0" fmla="*/ 7942 w 118249"/>
              <a:gd name="connsiteY0" fmla="*/ 73887 h 73887"/>
              <a:gd name="connsiteX1" fmla="*/ 0 w 118249"/>
              <a:gd name="connsiteY1" fmla="*/ 19892 h 73887"/>
              <a:gd name="connsiteX2" fmla="*/ 106116 w 118249"/>
              <a:gd name="connsiteY2" fmla="*/ 0 h 73887"/>
              <a:gd name="connsiteX3" fmla="*/ 118250 w 118249"/>
              <a:gd name="connsiteY3" fmla="*/ 53205 h 73887"/>
              <a:gd name="connsiteX4" fmla="*/ 7942 w 118249"/>
              <a:gd name="connsiteY4" fmla="*/ 73869 h 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87">
                <a:moveTo>
                  <a:pt x="7942" y="73887"/>
                </a:moveTo>
                <a:lnTo>
                  <a:pt x="0" y="19892"/>
                </a:lnTo>
                <a:cubicBezTo>
                  <a:pt x="35445" y="14671"/>
                  <a:pt x="71148" y="7979"/>
                  <a:pt x="106116" y="0"/>
                </a:cubicBezTo>
                <a:lnTo>
                  <a:pt x="118250" y="53205"/>
                </a:lnTo>
                <a:cubicBezTo>
                  <a:pt x="81903" y="61496"/>
                  <a:pt x="44785" y="68446"/>
                  <a:pt x="7942" y="7386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4A3EC7C4-77A1-CA25-5D4A-6470B37A626E}"/>
              </a:ext>
            </a:extLst>
          </p:cNvPr>
          <p:cNvSpPr/>
          <p:nvPr/>
        </p:nvSpPr>
        <p:spPr>
          <a:xfrm>
            <a:off x="2818279" y="5246372"/>
            <a:ext cx="121999" cy="88264"/>
          </a:xfrm>
          <a:custGeom>
            <a:avLst/>
            <a:gdLst>
              <a:gd name="connsiteX0" fmla="*/ 16252 w 121999"/>
              <a:gd name="connsiteY0" fmla="*/ 88264 h 88264"/>
              <a:gd name="connsiteX1" fmla="*/ 0 w 121999"/>
              <a:gd name="connsiteY1" fmla="*/ 36162 h 88264"/>
              <a:gd name="connsiteX2" fmla="*/ 101740 w 121999"/>
              <a:gd name="connsiteY2" fmla="*/ 0 h 88264"/>
              <a:gd name="connsiteX3" fmla="*/ 122000 w 121999"/>
              <a:gd name="connsiteY3" fmla="*/ 50668 h 88264"/>
              <a:gd name="connsiteX4" fmla="*/ 16233 w 121999"/>
              <a:gd name="connsiteY4" fmla="*/ 88246 h 88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9" h="88264">
                <a:moveTo>
                  <a:pt x="16252" y="88264"/>
                </a:moveTo>
                <a:lnTo>
                  <a:pt x="0" y="36162"/>
                </a:lnTo>
                <a:cubicBezTo>
                  <a:pt x="34214" y="25499"/>
                  <a:pt x="68446" y="13329"/>
                  <a:pt x="101740" y="0"/>
                </a:cubicBezTo>
                <a:lnTo>
                  <a:pt x="122000" y="50668"/>
                </a:lnTo>
                <a:cubicBezTo>
                  <a:pt x="87382" y="64511"/>
                  <a:pt x="51789" y="77160"/>
                  <a:pt x="16233" y="8824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1CE134DD-EF99-7428-6A96-3146284309F3}"/>
              </a:ext>
            </a:extLst>
          </p:cNvPr>
          <p:cNvSpPr/>
          <p:nvPr/>
        </p:nvSpPr>
        <p:spPr>
          <a:xfrm>
            <a:off x="1744915" y="5188313"/>
            <a:ext cx="122845" cy="96555"/>
          </a:xfrm>
          <a:custGeom>
            <a:avLst/>
            <a:gdLst>
              <a:gd name="connsiteX0" fmla="*/ 101336 w 122845"/>
              <a:gd name="connsiteY0" fmla="*/ 96556 h 96555"/>
              <a:gd name="connsiteX1" fmla="*/ 0 w 122845"/>
              <a:gd name="connsiteY1" fmla="*/ 48315 h 96555"/>
              <a:gd name="connsiteX2" fmla="*/ 25371 w 122845"/>
              <a:gd name="connsiteY2" fmla="*/ 0 h 96555"/>
              <a:gd name="connsiteX3" fmla="*/ 122846 w 122845"/>
              <a:gd name="connsiteY3" fmla="*/ 46384 h 96555"/>
              <a:gd name="connsiteX4" fmla="*/ 101336 w 122845"/>
              <a:gd name="connsiteY4" fmla="*/ 96537 h 9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45" h="96555">
                <a:moveTo>
                  <a:pt x="101336" y="96556"/>
                </a:moveTo>
                <a:cubicBezTo>
                  <a:pt x="67122" y="81885"/>
                  <a:pt x="33019" y="65651"/>
                  <a:pt x="0" y="48315"/>
                </a:cubicBezTo>
                <a:lnTo>
                  <a:pt x="25371" y="0"/>
                </a:lnTo>
                <a:cubicBezTo>
                  <a:pt x="57139" y="16675"/>
                  <a:pt x="89919" y="32283"/>
                  <a:pt x="122846" y="46384"/>
                </a:cubicBezTo>
                <a:lnTo>
                  <a:pt x="101336" y="96537"/>
                </a:lnTo>
                <a:close/>
              </a:path>
            </a:pathLst>
          </a:custGeom>
          <a:solidFill>
            <a:srgbClr val="43B1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DEE9C311-0348-3084-7D60-C440B39EA558}"/>
              </a:ext>
            </a:extLst>
          </p:cNvPr>
          <p:cNvSpPr/>
          <p:nvPr/>
        </p:nvSpPr>
        <p:spPr>
          <a:xfrm>
            <a:off x="3018634" y="5150772"/>
            <a:ext cx="122808" cy="100544"/>
          </a:xfrm>
          <a:custGeom>
            <a:avLst/>
            <a:gdLst>
              <a:gd name="connsiteX0" fmla="*/ 24176 w 122808"/>
              <a:gd name="connsiteY0" fmla="*/ 100527 h 100544"/>
              <a:gd name="connsiteX1" fmla="*/ 0 w 122808"/>
              <a:gd name="connsiteY1" fmla="*/ 51605 h 100544"/>
              <a:gd name="connsiteX2" fmla="*/ 94864 w 122808"/>
              <a:gd name="connsiteY2" fmla="*/ 0 h 100544"/>
              <a:gd name="connsiteX3" fmla="*/ 122809 w 122808"/>
              <a:gd name="connsiteY3" fmla="*/ 46881 h 100544"/>
              <a:gd name="connsiteX4" fmla="*/ 24176 w 122808"/>
              <a:gd name="connsiteY4" fmla="*/ 100545 h 100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44">
                <a:moveTo>
                  <a:pt x="24176" y="100527"/>
                </a:moveTo>
                <a:lnTo>
                  <a:pt x="0" y="51605"/>
                </a:lnTo>
                <a:cubicBezTo>
                  <a:pt x="32173" y="35721"/>
                  <a:pt x="64089" y="18348"/>
                  <a:pt x="94864" y="0"/>
                </a:cubicBezTo>
                <a:lnTo>
                  <a:pt x="122809" y="46881"/>
                </a:lnTo>
                <a:cubicBezTo>
                  <a:pt x="90801" y="65964"/>
                  <a:pt x="57617" y="84017"/>
                  <a:pt x="24176" y="10054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D4A27409-41A5-9707-5C0C-7B7A637B8C30}"/>
              </a:ext>
            </a:extLst>
          </p:cNvPr>
          <p:cNvSpPr/>
          <p:nvPr/>
        </p:nvSpPr>
        <p:spPr>
          <a:xfrm>
            <a:off x="1554984" y="5073483"/>
            <a:ext cx="121742" cy="107126"/>
          </a:xfrm>
          <a:custGeom>
            <a:avLst/>
            <a:gdLst>
              <a:gd name="connsiteX0" fmla="*/ 92603 w 121742"/>
              <a:gd name="connsiteY0" fmla="*/ 107127 h 107126"/>
              <a:gd name="connsiteX1" fmla="*/ 92051 w 121742"/>
              <a:gd name="connsiteY1" fmla="*/ 106777 h 107126"/>
              <a:gd name="connsiteX2" fmla="*/ 0 w 121742"/>
              <a:gd name="connsiteY2" fmla="*/ 43829 h 107126"/>
              <a:gd name="connsiteX3" fmla="*/ 32522 w 121742"/>
              <a:gd name="connsiteY3" fmla="*/ 0 h 107126"/>
              <a:gd name="connsiteX4" fmla="*/ 120934 w 121742"/>
              <a:gd name="connsiteY4" fmla="*/ 60467 h 107126"/>
              <a:gd name="connsiteX5" fmla="*/ 121743 w 121742"/>
              <a:gd name="connsiteY5" fmla="*/ 60982 h 107126"/>
              <a:gd name="connsiteX6" fmla="*/ 92603 w 121742"/>
              <a:gd name="connsiteY6" fmla="*/ 107127 h 10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742" h="107126">
                <a:moveTo>
                  <a:pt x="92603" y="107127"/>
                </a:moveTo>
                <a:lnTo>
                  <a:pt x="92051" y="106777"/>
                </a:lnTo>
                <a:cubicBezTo>
                  <a:pt x="60504" y="86922"/>
                  <a:pt x="29599" y="65798"/>
                  <a:pt x="0" y="43829"/>
                </a:cubicBezTo>
                <a:lnTo>
                  <a:pt x="32522" y="0"/>
                </a:lnTo>
                <a:cubicBezTo>
                  <a:pt x="60982" y="21124"/>
                  <a:pt x="90728" y="41475"/>
                  <a:pt x="120934" y="60467"/>
                </a:cubicBezTo>
                <a:lnTo>
                  <a:pt x="121743" y="60982"/>
                </a:lnTo>
                <a:lnTo>
                  <a:pt x="92603" y="107127"/>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D4A43AAC-06C6-FE93-58B7-950CE21AF4D1}"/>
              </a:ext>
            </a:extLst>
          </p:cNvPr>
          <p:cNvSpPr/>
          <p:nvPr/>
        </p:nvSpPr>
        <p:spPr>
          <a:xfrm>
            <a:off x="3204005" y="5025959"/>
            <a:ext cx="120547" cy="110417"/>
          </a:xfrm>
          <a:custGeom>
            <a:avLst/>
            <a:gdLst>
              <a:gd name="connsiteX0" fmla="*/ 31566 w 120547"/>
              <a:gd name="connsiteY0" fmla="*/ 110417 h 110417"/>
              <a:gd name="connsiteX1" fmla="*/ 0 w 120547"/>
              <a:gd name="connsiteY1" fmla="*/ 65890 h 110417"/>
              <a:gd name="connsiteX2" fmla="*/ 85562 w 120547"/>
              <a:gd name="connsiteY2" fmla="*/ 0 h 110417"/>
              <a:gd name="connsiteX3" fmla="*/ 120548 w 120547"/>
              <a:gd name="connsiteY3" fmla="*/ 41898 h 110417"/>
              <a:gd name="connsiteX4" fmla="*/ 31566 w 120547"/>
              <a:gd name="connsiteY4" fmla="*/ 110417 h 110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47" h="110417">
                <a:moveTo>
                  <a:pt x="31566" y="110417"/>
                </a:moveTo>
                <a:lnTo>
                  <a:pt x="0" y="65890"/>
                </a:lnTo>
                <a:cubicBezTo>
                  <a:pt x="29268" y="45152"/>
                  <a:pt x="58059" y="22981"/>
                  <a:pt x="85562" y="0"/>
                </a:cubicBezTo>
                <a:lnTo>
                  <a:pt x="120548" y="41898"/>
                </a:lnTo>
                <a:cubicBezTo>
                  <a:pt x="91941" y="65780"/>
                  <a:pt x="62011" y="88834"/>
                  <a:pt x="31566" y="110417"/>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5B6FCAA-68FE-4E7E-DC43-1C717AF9FD16}"/>
              </a:ext>
            </a:extLst>
          </p:cNvPr>
          <p:cNvSpPr/>
          <p:nvPr/>
        </p:nvSpPr>
        <p:spPr>
          <a:xfrm>
            <a:off x="1241932" y="4766094"/>
            <a:ext cx="110417" cy="120528"/>
          </a:xfrm>
          <a:custGeom>
            <a:avLst/>
            <a:gdLst>
              <a:gd name="connsiteX0" fmla="*/ 68538 w 110417"/>
              <a:gd name="connsiteY0" fmla="*/ 120529 h 120528"/>
              <a:gd name="connsiteX1" fmla="*/ 0 w 110417"/>
              <a:gd name="connsiteY1" fmla="*/ 31566 h 120528"/>
              <a:gd name="connsiteX2" fmla="*/ 44509 w 110417"/>
              <a:gd name="connsiteY2" fmla="*/ 0 h 120528"/>
              <a:gd name="connsiteX3" fmla="*/ 110418 w 110417"/>
              <a:gd name="connsiteY3" fmla="*/ 85543 h 120528"/>
              <a:gd name="connsiteX4" fmla="*/ 68538 w 110417"/>
              <a:gd name="connsiteY4" fmla="*/ 120529 h 120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17" h="120528">
                <a:moveTo>
                  <a:pt x="68538" y="120529"/>
                </a:moveTo>
                <a:cubicBezTo>
                  <a:pt x="44638" y="91923"/>
                  <a:pt x="21583" y="61993"/>
                  <a:pt x="0" y="31566"/>
                </a:cubicBezTo>
                <a:lnTo>
                  <a:pt x="44509" y="0"/>
                </a:lnTo>
                <a:cubicBezTo>
                  <a:pt x="65265" y="29268"/>
                  <a:pt x="87437" y="58040"/>
                  <a:pt x="110418" y="85543"/>
                </a:cubicBezTo>
                <a:lnTo>
                  <a:pt x="68538" y="120529"/>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F1A750CB-FD32-1A0D-0ADF-92A6776363C2}"/>
              </a:ext>
            </a:extLst>
          </p:cNvPr>
          <p:cNvSpPr/>
          <p:nvPr/>
        </p:nvSpPr>
        <p:spPr>
          <a:xfrm>
            <a:off x="3511487" y="4702208"/>
            <a:ext cx="107200" cy="121172"/>
          </a:xfrm>
          <a:custGeom>
            <a:avLst/>
            <a:gdLst>
              <a:gd name="connsiteX0" fmla="*/ 43811 w 107200"/>
              <a:gd name="connsiteY0" fmla="*/ 121172 h 121172"/>
              <a:gd name="connsiteX1" fmla="*/ 0 w 107200"/>
              <a:gd name="connsiteY1" fmla="*/ 88650 h 121172"/>
              <a:gd name="connsiteX2" fmla="*/ 60651 w 107200"/>
              <a:gd name="connsiteY2" fmla="*/ 0 h 121172"/>
              <a:gd name="connsiteX3" fmla="*/ 107200 w 107200"/>
              <a:gd name="connsiteY3" fmla="*/ 28478 h 121172"/>
              <a:gd name="connsiteX4" fmla="*/ 106667 w 107200"/>
              <a:gd name="connsiteY4" fmla="*/ 29323 h 121172"/>
              <a:gd name="connsiteX5" fmla="*/ 43811 w 107200"/>
              <a:gd name="connsiteY5" fmla="*/ 121172 h 12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00" h="121172">
                <a:moveTo>
                  <a:pt x="43811" y="121172"/>
                </a:moveTo>
                <a:lnTo>
                  <a:pt x="0" y="88650"/>
                </a:lnTo>
                <a:cubicBezTo>
                  <a:pt x="21179" y="60117"/>
                  <a:pt x="41586" y="30298"/>
                  <a:pt x="60651" y="0"/>
                </a:cubicBezTo>
                <a:lnTo>
                  <a:pt x="107200" y="28478"/>
                </a:lnTo>
                <a:lnTo>
                  <a:pt x="106667" y="29323"/>
                </a:lnTo>
                <a:cubicBezTo>
                  <a:pt x="87033" y="60540"/>
                  <a:pt x="65835" y="91537"/>
                  <a:pt x="43811" y="12117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2101CBD9-176D-5901-858F-E548E5AEC3B0}"/>
              </a:ext>
            </a:extLst>
          </p:cNvPr>
          <p:cNvSpPr/>
          <p:nvPr/>
        </p:nvSpPr>
        <p:spPr>
          <a:xfrm>
            <a:off x="993630" y="4170012"/>
            <a:ext cx="73905" cy="118267"/>
          </a:xfrm>
          <a:custGeom>
            <a:avLst/>
            <a:gdLst>
              <a:gd name="connsiteX0" fmla="*/ 20701 w 73905"/>
              <a:gd name="connsiteY0" fmla="*/ 118268 h 118267"/>
              <a:gd name="connsiteX1" fmla="*/ 0 w 73905"/>
              <a:gd name="connsiteY1" fmla="*/ 7960 h 118267"/>
              <a:gd name="connsiteX2" fmla="*/ 53995 w 73905"/>
              <a:gd name="connsiteY2" fmla="*/ 0 h 118267"/>
              <a:gd name="connsiteX3" fmla="*/ 73906 w 73905"/>
              <a:gd name="connsiteY3" fmla="*/ 106116 h 118267"/>
              <a:gd name="connsiteX4" fmla="*/ 20701 w 73905"/>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05" h="118267">
                <a:moveTo>
                  <a:pt x="20701" y="118268"/>
                </a:moveTo>
                <a:cubicBezTo>
                  <a:pt x="12410" y="81922"/>
                  <a:pt x="5442" y="44803"/>
                  <a:pt x="0" y="7960"/>
                </a:cubicBezTo>
                <a:lnTo>
                  <a:pt x="53995" y="0"/>
                </a:lnTo>
                <a:cubicBezTo>
                  <a:pt x="59217" y="35445"/>
                  <a:pt x="65927" y="71148"/>
                  <a:pt x="73906" y="106116"/>
                </a:cubicBezTo>
                <a:lnTo>
                  <a:pt x="20701"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2AEE38C-4645-9FE0-C245-D123F3E6F947}"/>
              </a:ext>
            </a:extLst>
          </p:cNvPr>
          <p:cNvSpPr/>
          <p:nvPr/>
        </p:nvSpPr>
        <p:spPr>
          <a:xfrm>
            <a:off x="978242" y="3954195"/>
            <a:ext cx="57782" cy="112182"/>
          </a:xfrm>
          <a:custGeom>
            <a:avLst/>
            <a:gdLst>
              <a:gd name="connsiteX0" fmla="*/ 3346 w 57782"/>
              <a:gd name="connsiteY0" fmla="*/ 112183 h 112182"/>
              <a:gd name="connsiteX1" fmla="*/ 0 w 57782"/>
              <a:gd name="connsiteY1" fmla="*/ 14450 h 112182"/>
              <a:gd name="connsiteX2" fmla="*/ 74 w 57782"/>
              <a:gd name="connsiteY2" fmla="*/ 0 h 112182"/>
              <a:gd name="connsiteX3" fmla="*/ 54639 w 57782"/>
              <a:gd name="connsiteY3" fmla="*/ 552 h 112182"/>
              <a:gd name="connsiteX4" fmla="*/ 54565 w 57782"/>
              <a:gd name="connsiteY4" fmla="*/ 14450 h 112182"/>
              <a:gd name="connsiteX5" fmla="*/ 57783 w 57782"/>
              <a:gd name="connsiteY5" fmla="*/ 108469 h 112182"/>
              <a:gd name="connsiteX6" fmla="*/ 3328 w 57782"/>
              <a:gd name="connsiteY6" fmla="*/ 112183 h 11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82" h="112182">
                <a:moveTo>
                  <a:pt x="3346" y="112183"/>
                </a:moveTo>
                <a:cubicBezTo>
                  <a:pt x="1121" y="79771"/>
                  <a:pt x="0" y="46881"/>
                  <a:pt x="0" y="14450"/>
                </a:cubicBezTo>
                <a:cubicBezTo>
                  <a:pt x="0" y="9633"/>
                  <a:pt x="18" y="4817"/>
                  <a:pt x="74" y="0"/>
                </a:cubicBezTo>
                <a:lnTo>
                  <a:pt x="54639" y="552"/>
                </a:lnTo>
                <a:cubicBezTo>
                  <a:pt x="54602" y="5184"/>
                  <a:pt x="54565" y="9817"/>
                  <a:pt x="54565" y="14450"/>
                </a:cubicBezTo>
                <a:cubicBezTo>
                  <a:pt x="54565" y="45649"/>
                  <a:pt x="55650" y="77289"/>
                  <a:pt x="57783" y="108469"/>
                </a:cubicBezTo>
                <a:lnTo>
                  <a:pt x="3328" y="112183"/>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A2BF91E0-3E84-4A3C-0F9E-251C6A8157EF}"/>
              </a:ext>
            </a:extLst>
          </p:cNvPr>
          <p:cNvSpPr/>
          <p:nvPr/>
        </p:nvSpPr>
        <p:spPr>
          <a:xfrm>
            <a:off x="3780287" y="3874186"/>
            <a:ext cx="57727" cy="112200"/>
          </a:xfrm>
          <a:custGeom>
            <a:avLst/>
            <a:gdLst>
              <a:gd name="connsiteX0" fmla="*/ 57654 w 57727"/>
              <a:gd name="connsiteY0" fmla="*/ 112201 h 112200"/>
              <a:gd name="connsiteX1" fmla="*/ 3088 w 57727"/>
              <a:gd name="connsiteY1" fmla="*/ 111613 h 112200"/>
              <a:gd name="connsiteX2" fmla="*/ 3162 w 57727"/>
              <a:gd name="connsiteY2" fmla="*/ 97107 h 112200"/>
              <a:gd name="connsiteX3" fmla="*/ 0 w 57727"/>
              <a:gd name="connsiteY3" fmla="*/ 3695 h 112200"/>
              <a:gd name="connsiteX4" fmla="*/ 54437 w 57727"/>
              <a:gd name="connsiteY4" fmla="*/ 0 h 112200"/>
              <a:gd name="connsiteX5" fmla="*/ 57728 w 57727"/>
              <a:gd name="connsiteY5" fmla="*/ 97126 h 112200"/>
              <a:gd name="connsiteX6" fmla="*/ 57654 w 57727"/>
              <a:gd name="connsiteY6" fmla="*/ 112201 h 11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27" h="112200">
                <a:moveTo>
                  <a:pt x="57654" y="112201"/>
                </a:moveTo>
                <a:lnTo>
                  <a:pt x="3088" y="111613"/>
                </a:lnTo>
                <a:cubicBezTo>
                  <a:pt x="3144" y="106777"/>
                  <a:pt x="3162" y="101942"/>
                  <a:pt x="3162" y="97107"/>
                </a:cubicBezTo>
                <a:cubicBezTo>
                  <a:pt x="3162" y="66074"/>
                  <a:pt x="2096" y="34655"/>
                  <a:pt x="0" y="3695"/>
                </a:cubicBezTo>
                <a:lnTo>
                  <a:pt x="54437" y="0"/>
                </a:lnTo>
                <a:cubicBezTo>
                  <a:pt x="56624" y="32191"/>
                  <a:pt x="57728" y="64861"/>
                  <a:pt x="57728" y="97126"/>
                </a:cubicBezTo>
                <a:cubicBezTo>
                  <a:pt x="57728" y="102145"/>
                  <a:pt x="57709" y="107182"/>
                  <a:pt x="57654" y="112201"/>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239F002-F789-E502-6856-C043FB313F79}"/>
              </a:ext>
            </a:extLst>
          </p:cNvPr>
          <p:cNvSpPr/>
          <p:nvPr/>
        </p:nvSpPr>
        <p:spPr>
          <a:xfrm>
            <a:off x="3748886" y="3652266"/>
            <a:ext cx="73850" cy="118267"/>
          </a:xfrm>
          <a:custGeom>
            <a:avLst/>
            <a:gdLst>
              <a:gd name="connsiteX0" fmla="*/ 19874 w 73850"/>
              <a:gd name="connsiteY0" fmla="*/ 118268 h 118267"/>
              <a:gd name="connsiteX1" fmla="*/ 0 w 73850"/>
              <a:gd name="connsiteY1" fmla="*/ 12134 h 118267"/>
              <a:gd name="connsiteX2" fmla="*/ 53205 w 73850"/>
              <a:gd name="connsiteY2" fmla="*/ 0 h 118267"/>
              <a:gd name="connsiteX3" fmla="*/ 73851 w 73850"/>
              <a:gd name="connsiteY3" fmla="*/ 110326 h 118267"/>
              <a:gd name="connsiteX4" fmla="*/ 19855 w 73850"/>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0" h="118267">
                <a:moveTo>
                  <a:pt x="19874" y="118268"/>
                </a:moveTo>
                <a:cubicBezTo>
                  <a:pt x="14653" y="82786"/>
                  <a:pt x="7961" y="47083"/>
                  <a:pt x="0" y="12134"/>
                </a:cubicBezTo>
                <a:lnTo>
                  <a:pt x="53205" y="0"/>
                </a:lnTo>
                <a:cubicBezTo>
                  <a:pt x="61478" y="36328"/>
                  <a:pt x="68427" y="73446"/>
                  <a:pt x="73851" y="110326"/>
                </a:cubicBezTo>
                <a:lnTo>
                  <a:pt x="19855"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DF805FFF-4133-EB04-1A56-BAE6A302F4A8}"/>
              </a:ext>
            </a:extLst>
          </p:cNvPr>
          <p:cNvSpPr/>
          <p:nvPr/>
        </p:nvSpPr>
        <p:spPr>
          <a:xfrm>
            <a:off x="1021317" y="3513205"/>
            <a:ext cx="83410" cy="121025"/>
          </a:xfrm>
          <a:custGeom>
            <a:avLst/>
            <a:gdLst>
              <a:gd name="connsiteX0" fmla="*/ 52929 w 83410"/>
              <a:gd name="connsiteY0" fmla="*/ 121007 h 121025"/>
              <a:gd name="connsiteX1" fmla="*/ 0 w 83410"/>
              <a:gd name="connsiteY1" fmla="*/ 107678 h 121025"/>
              <a:gd name="connsiteX2" fmla="*/ 31713 w 83410"/>
              <a:gd name="connsiteY2" fmla="*/ 0 h 121025"/>
              <a:gd name="connsiteX3" fmla="*/ 83411 w 83410"/>
              <a:gd name="connsiteY3" fmla="*/ 17484 h 121025"/>
              <a:gd name="connsiteX4" fmla="*/ 52929 w 83410"/>
              <a:gd name="connsiteY4" fmla="*/ 121026 h 12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121025">
                <a:moveTo>
                  <a:pt x="52929" y="121007"/>
                </a:moveTo>
                <a:lnTo>
                  <a:pt x="0" y="107678"/>
                </a:lnTo>
                <a:cubicBezTo>
                  <a:pt x="9100" y="71534"/>
                  <a:pt x="19782" y="35317"/>
                  <a:pt x="31713" y="0"/>
                </a:cubicBezTo>
                <a:lnTo>
                  <a:pt x="83411" y="17484"/>
                </a:lnTo>
                <a:cubicBezTo>
                  <a:pt x="71939" y="51440"/>
                  <a:pt x="61680" y="86279"/>
                  <a:pt x="52929" y="12102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5C97F843-6D8D-2ED6-5D11-6D9E19AE9160}"/>
              </a:ext>
            </a:extLst>
          </p:cNvPr>
          <p:cNvSpPr/>
          <p:nvPr/>
        </p:nvSpPr>
        <p:spPr>
          <a:xfrm>
            <a:off x="3684669" y="3438123"/>
            <a:ext cx="88227" cy="122018"/>
          </a:xfrm>
          <a:custGeom>
            <a:avLst/>
            <a:gdLst>
              <a:gd name="connsiteX0" fmla="*/ 36126 w 88227"/>
              <a:gd name="connsiteY0" fmla="*/ 122018 h 122018"/>
              <a:gd name="connsiteX1" fmla="*/ 0 w 88227"/>
              <a:gd name="connsiteY1" fmla="*/ 20260 h 122018"/>
              <a:gd name="connsiteX2" fmla="*/ 50668 w 88227"/>
              <a:gd name="connsiteY2" fmla="*/ 0 h 122018"/>
              <a:gd name="connsiteX3" fmla="*/ 88227 w 88227"/>
              <a:gd name="connsiteY3" fmla="*/ 105785 h 122018"/>
              <a:gd name="connsiteX4" fmla="*/ 36126 w 88227"/>
              <a:gd name="connsiteY4" fmla="*/ 122018 h 12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7" h="122018">
                <a:moveTo>
                  <a:pt x="36126" y="122018"/>
                </a:moveTo>
                <a:cubicBezTo>
                  <a:pt x="25463" y="87786"/>
                  <a:pt x="13292" y="53554"/>
                  <a:pt x="0" y="20260"/>
                </a:cubicBezTo>
                <a:lnTo>
                  <a:pt x="50668" y="0"/>
                </a:lnTo>
                <a:cubicBezTo>
                  <a:pt x="64511" y="34600"/>
                  <a:pt x="77142" y="70192"/>
                  <a:pt x="88227" y="105785"/>
                </a:cubicBezTo>
                <a:lnTo>
                  <a:pt x="36126" y="12201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4CA65399-C971-4B97-9635-A07F865F1C1E}"/>
              </a:ext>
            </a:extLst>
          </p:cNvPr>
          <p:cNvSpPr/>
          <p:nvPr/>
        </p:nvSpPr>
        <p:spPr>
          <a:xfrm>
            <a:off x="3464331" y="3053812"/>
            <a:ext cx="110399" cy="120547"/>
          </a:xfrm>
          <a:custGeom>
            <a:avLst/>
            <a:gdLst>
              <a:gd name="connsiteX0" fmla="*/ 65853 w 110399"/>
              <a:gd name="connsiteY0" fmla="*/ 120547 h 120547"/>
              <a:gd name="connsiteX1" fmla="*/ 0 w 110399"/>
              <a:gd name="connsiteY1" fmla="*/ 34967 h 120547"/>
              <a:gd name="connsiteX2" fmla="*/ 41898 w 110399"/>
              <a:gd name="connsiteY2" fmla="*/ 0 h 120547"/>
              <a:gd name="connsiteX3" fmla="*/ 110399 w 110399"/>
              <a:gd name="connsiteY3" fmla="*/ 89000 h 120547"/>
              <a:gd name="connsiteX4" fmla="*/ 65872 w 110399"/>
              <a:gd name="connsiteY4" fmla="*/ 120547 h 120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399" h="120547">
                <a:moveTo>
                  <a:pt x="65853" y="120547"/>
                </a:moveTo>
                <a:cubicBezTo>
                  <a:pt x="45134" y="91298"/>
                  <a:pt x="22981" y="62507"/>
                  <a:pt x="0" y="34967"/>
                </a:cubicBezTo>
                <a:lnTo>
                  <a:pt x="41898" y="0"/>
                </a:lnTo>
                <a:cubicBezTo>
                  <a:pt x="65798" y="28625"/>
                  <a:pt x="88834" y="58573"/>
                  <a:pt x="110399" y="89000"/>
                </a:cubicBezTo>
                <a:lnTo>
                  <a:pt x="65872" y="120547"/>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A733A8C1-D56B-00F4-7970-DBB4D77221AE}"/>
              </a:ext>
            </a:extLst>
          </p:cNvPr>
          <p:cNvSpPr/>
          <p:nvPr/>
        </p:nvSpPr>
        <p:spPr>
          <a:xfrm>
            <a:off x="3313338" y="2893407"/>
            <a:ext cx="117550" cy="115271"/>
          </a:xfrm>
          <a:custGeom>
            <a:avLst/>
            <a:gdLst>
              <a:gd name="connsiteX0" fmla="*/ 78557 w 117550"/>
              <a:gd name="connsiteY0" fmla="*/ 115271 h 115271"/>
              <a:gd name="connsiteX1" fmla="*/ 0 w 117550"/>
              <a:gd name="connsiteY1" fmla="*/ 41126 h 115271"/>
              <a:gd name="connsiteX2" fmla="*/ 35868 w 117550"/>
              <a:gd name="connsiteY2" fmla="*/ 0 h 115271"/>
              <a:gd name="connsiteX3" fmla="*/ 117551 w 117550"/>
              <a:gd name="connsiteY3" fmla="*/ 77105 h 115271"/>
              <a:gd name="connsiteX4" fmla="*/ 78557 w 117550"/>
              <a:gd name="connsiteY4" fmla="*/ 115271 h 115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50" h="115271">
                <a:moveTo>
                  <a:pt x="78557" y="115271"/>
                </a:moveTo>
                <a:cubicBezTo>
                  <a:pt x="53481" y="89661"/>
                  <a:pt x="27062" y="64714"/>
                  <a:pt x="0" y="41126"/>
                </a:cubicBezTo>
                <a:lnTo>
                  <a:pt x="35868" y="0"/>
                </a:lnTo>
                <a:cubicBezTo>
                  <a:pt x="63997" y="24525"/>
                  <a:pt x="91482" y="50466"/>
                  <a:pt x="117551" y="77105"/>
                </a:cubicBezTo>
                <a:lnTo>
                  <a:pt x="78557" y="115271"/>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A60DFA1-6CDC-5ED9-0B19-6201574BF816}"/>
              </a:ext>
            </a:extLst>
          </p:cNvPr>
          <p:cNvSpPr/>
          <p:nvPr/>
        </p:nvSpPr>
        <p:spPr>
          <a:xfrm>
            <a:off x="1492201" y="2803231"/>
            <a:ext cx="120565" cy="110399"/>
          </a:xfrm>
          <a:custGeom>
            <a:avLst/>
            <a:gdLst>
              <a:gd name="connsiteX0" fmla="*/ 34967 w 120565"/>
              <a:gd name="connsiteY0" fmla="*/ 110381 h 110399"/>
              <a:gd name="connsiteX1" fmla="*/ 0 w 120565"/>
              <a:gd name="connsiteY1" fmla="*/ 68482 h 110399"/>
              <a:gd name="connsiteX2" fmla="*/ 89018 w 120565"/>
              <a:gd name="connsiteY2" fmla="*/ 0 h 110399"/>
              <a:gd name="connsiteX3" fmla="*/ 120566 w 120565"/>
              <a:gd name="connsiteY3" fmla="*/ 44546 h 110399"/>
              <a:gd name="connsiteX4" fmla="*/ 34967 w 120565"/>
              <a:gd name="connsiteY4" fmla="*/ 110399 h 110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5" h="110399">
                <a:moveTo>
                  <a:pt x="34967" y="110381"/>
                </a:moveTo>
                <a:lnTo>
                  <a:pt x="0" y="68482"/>
                </a:lnTo>
                <a:cubicBezTo>
                  <a:pt x="28625" y="44601"/>
                  <a:pt x="58573" y="21565"/>
                  <a:pt x="89018" y="0"/>
                </a:cubicBezTo>
                <a:lnTo>
                  <a:pt x="120566" y="44546"/>
                </a:lnTo>
                <a:cubicBezTo>
                  <a:pt x="91298" y="65284"/>
                  <a:pt x="62489" y="87419"/>
                  <a:pt x="34967" y="11039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C228AC5A-7BC4-0D80-E65D-D58B7E69EF14}"/>
              </a:ext>
            </a:extLst>
          </p:cNvPr>
          <p:cNvSpPr/>
          <p:nvPr/>
        </p:nvSpPr>
        <p:spPr>
          <a:xfrm>
            <a:off x="3139659" y="2759402"/>
            <a:ext cx="122110" cy="107420"/>
          </a:xfrm>
          <a:custGeom>
            <a:avLst/>
            <a:gdLst>
              <a:gd name="connsiteX0" fmla="*/ 89588 w 122110"/>
              <a:gd name="connsiteY0" fmla="*/ 107421 h 107420"/>
              <a:gd name="connsiteX1" fmla="*/ 1048 w 122110"/>
              <a:gd name="connsiteY1" fmla="*/ 46825 h 107420"/>
              <a:gd name="connsiteX2" fmla="*/ 0 w 122110"/>
              <a:gd name="connsiteY2" fmla="*/ 46164 h 107420"/>
              <a:gd name="connsiteX3" fmla="*/ 15443 w 122110"/>
              <a:gd name="connsiteY3" fmla="*/ 22613 h 107420"/>
              <a:gd name="connsiteX4" fmla="*/ 29066 w 122110"/>
              <a:gd name="connsiteY4" fmla="*/ 0 h 107420"/>
              <a:gd name="connsiteX5" fmla="*/ 29765 w 122110"/>
              <a:gd name="connsiteY5" fmla="*/ 423 h 107420"/>
              <a:gd name="connsiteX6" fmla="*/ 122110 w 122110"/>
              <a:gd name="connsiteY6" fmla="*/ 63611 h 107420"/>
              <a:gd name="connsiteX7" fmla="*/ 89570 w 122110"/>
              <a:gd name="connsiteY7" fmla="*/ 107421 h 10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10" h="107420">
                <a:moveTo>
                  <a:pt x="89588" y="107421"/>
                </a:moveTo>
                <a:cubicBezTo>
                  <a:pt x="61074" y="86242"/>
                  <a:pt x="31291" y="65872"/>
                  <a:pt x="1048" y="46825"/>
                </a:cubicBezTo>
                <a:lnTo>
                  <a:pt x="0" y="46164"/>
                </a:lnTo>
                <a:lnTo>
                  <a:pt x="15443" y="22613"/>
                </a:lnTo>
                <a:lnTo>
                  <a:pt x="29066" y="0"/>
                </a:lnTo>
                <a:lnTo>
                  <a:pt x="29765" y="423"/>
                </a:lnTo>
                <a:cubicBezTo>
                  <a:pt x="61313" y="20260"/>
                  <a:pt x="92382" y="41531"/>
                  <a:pt x="122110" y="63611"/>
                </a:cubicBezTo>
                <a:lnTo>
                  <a:pt x="89570" y="107421"/>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DDDF4CBB-C218-FA03-1264-28380E541387}"/>
              </a:ext>
            </a:extLst>
          </p:cNvPr>
          <p:cNvSpPr/>
          <p:nvPr/>
        </p:nvSpPr>
        <p:spPr>
          <a:xfrm>
            <a:off x="1675366" y="2688401"/>
            <a:ext cx="122808" cy="100508"/>
          </a:xfrm>
          <a:custGeom>
            <a:avLst/>
            <a:gdLst>
              <a:gd name="connsiteX0" fmla="*/ 27926 w 122808"/>
              <a:gd name="connsiteY0" fmla="*/ 100490 h 100508"/>
              <a:gd name="connsiteX1" fmla="*/ 0 w 122808"/>
              <a:gd name="connsiteY1" fmla="*/ 53609 h 100508"/>
              <a:gd name="connsiteX2" fmla="*/ 98651 w 122808"/>
              <a:gd name="connsiteY2" fmla="*/ 0 h 100508"/>
              <a:gd name="connsiteX3" fmla="*/ 122809 w 122808"/>
              <a:gd name="connsiteY3" fmla="*/ 48940 h 100508"/>
              <a:gd name="connsiteX4" fmla="*/ 27926 w 122808"/>
              <a:gd name="connsiteY4" fmla="*/ 100508 h 100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08">
                <a:moveTo>
                  <a:pt x="27926" y="100490"/>
                </a:moveTo>
                <a:lnTo>
                  <a:pt x="0" y="53609"/>
                </a:lnTo>
                <a:cubicBezTo>
                  <a:pt x="32026" y="34545"/>
                  <a:pt x="65210" y="16509"/>
                  <a:pt x="98651" y="0"/>
                </a:cubicBezTo>
                <a:lnTo>
                  <a:pt x="122809" y="48940"/>
                </a:lnTo>
                <a:cubicBezTo>
                  <a:pt x="90636" y="64824"/>
                  <a:pt x="58720" y="82161"/>
                  <a:pt x="27926" y="100508"/>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858D6513-3C7C-7FBF-5395-CC1CFB348FDE}"/>
              </a:ext>
            </a:extLst>
          </p:cNvPr>
          <p:cNvSpPr/>
          <p:nvPr/>
        </p:nvSpPr>
        <p:spPr>
          <a:xfrm>
            <a:off x="1876567" y="2605156"/>
            <a:ext cx="122018" cy="88209"/>
          </a:xfrm>
          <a:custGeom>
            <a:avLst/>
            <a:gdLst>
              <a:gd name="connsiteX0" fmla="*/ 20241 w 122018"/>
              <a:gd name="connsiteY0" fmla="*/ 88209 h 88209"/>
              <a:gd name="connsiteX1" fmla="*/ 0 w 122018"/>
              <a:gd name="connsiteY1" fmla="*/ 37541 h 88209"/>
              <a:gd name="connsiteX2" fmla="*/ 105785 w 122018"/>
              <a:gd name="connsiteY2" fmla="*/ 0 h 88209"/>
              <a:gd name="connsiteX3" fmla="*/ 122018 w 122018"/>
              <a:gd name="connsiteY3" fmla="*/ 52102 h 88209"/>
              <a:gd name="connsiteX4" fmla="*/ 20241 w 122018"/>
              <a:gd name="connsiteY4" fmla="*/ 88209 h 88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8" h="88209">
                <a:moveTo>
                  <a:pt x="20241" y="88209"/>
                </a:moveTo>
                <a:lnTo>
                  <a:pt x="0" y="37541"/>
                </a:lnTo>
                <a:cubicBezTo>
                  <a:pt x="34618" y="23716"/>
                  <a:pt x="70211" y="11086"/>
                  <a:pt x="105785" y="0"/>
                </a:cubicBezTo>
                <a:lnTo>
                  <a:pt x="122018" y="52102"/>
                </a:lnTo>
                <a:cubicBezTo>
                  <a:pt x="87786" y="62765"/>
                  <a:pt x="53554" y="74917"/>
                  <a:pt x="20241" y="88209"/>
                </a:cubicBez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16702966-5C56-5ACA-0DED-A3203487E13F}"/>
              </a:ext>
            </a:extLst>
          </p:cNvPr>
          <p:cNvSpPr/>
          <p:nvPr/>
        </p:nvSpPr>
        <p:spPr>
          <a:xfrm>
            <a:off x="2090747" y="2555352"/>
            <a:ext cx="118249" cy="73832"/>
          </a:xfrm>
          <a:custGeom>
            <a:avLst/>
            <a:gdLst>
              <a:gd name="connsiteX0" fmla="*/ 12115 w 118249"/>
              <a:gd name="connsiteY0" fmla="*/ 73832 h 73832"/>
              <a:gd name="connsiteX1" fmla="*/ 0 w 118249"/>
              <a:gd name="connsiteY1" fmla="*/ 20627 h 73832"/>
              <a:gd name="connsiteX2" fmla="*/ 110326 w 118249"/>
              <a:gd name="connsiteY2" fmla="*/ 0 h 73832"/>
              <a:gd name="connsiteX3" fmla="*/ 118249 w 118249"/>
              <a:gd name="connsiteY3" fmla="*/ 53995 h 73832"/>
              <a:gd name="connsiteX4" fmla="*/ 12115 w 118249"/>
              <a:gd name="connsiteY4" fmla="*/ 73832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32">
                <a:moveTo>
                  <a:pt x="12115" y="73832"/>
                </a:moveTo>
                <a:lnTo>
                  <a:pt x="0" y="20627"/>
                </a:lnTo>
                <a:cubicBezTo>
                  <a:pt x="36346" y="12354"/>
                  <a:pt x="73465" y="5405"/>
                  <a:pt x="110326" y="0"/>
                </a:cubicBezTo>
                <a:lnTo>
                  <a:pt x="118249" y="53995"/>
                </a:lnTo>
                <a:cubicBezTo>
                  <a:pt x="82786" y="59198"/>
                  <a:pt x="47083" y="65872"/>
                  <a:pt x="12115" y="7383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grpSp>
        <p:nvGrpSpPr>
          <p:cNvPr id="54" name="Graphic 5">
            <a:extLst>
              <a:ext uri="{FF2B5EF4-FFF2-40B4-BE49-F238E27FC236}">
                <a16:creationId xmlns:a16="http://schemas.microsoft.com/office/drawing/2014/main" id="{FB4061F0-7535-AAE2-D1C7-B34E9A247675}"/>
              </a:ext>
            </a:extLst>
          </p:cNvPr>
          <p:cNvGrpSpPr/>
          <p:nvPr/>
        </p:nvGrpSpPr>
        <p:grpSpPr>
          <a:xfrm>
            <a:off x="1168283" y="2598887"/>
            <a:ext cx="411887" cy="411887"/>
            <a:chOff x="1596624" y="2610404"/>
            <a:chExt cx="411887" cy="411887"/>
          </a:xfrm>
          <a:solidFill>
            <a:srgbClr val="0092CC"/>
          </a:solidFill>
        </p:grpSpPr>
        <p:sp>
          <p:nvSpPr>
            <p:cNvPr id="55" name="Freeform: Shape 54">
              <a:extLst>
                <a:ext uri="{FF2B5EF4-FFF2-40B4-BE49-F238E27FC236}">
                  <a16:creationId xmlns:a16="http://schemas.microsoft.com/office/drawing/2014/main" id="{0897DFE6-1493-1F5B-DBE3-719E00481C96}"/>
                </a:ext>
              </a:extLst>
            </p:cNvPr>
            <p:cNvSpPr/>
            <p:nvPr/>
          </p:nvSpPr>
          <p:spPr>
            <a:xfrm>
              <a:off x="1665658" y="2679456"/>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8721A33D-07A5-7AAF-0507-6B38E0F59958}"/>
                </a:ext>
              </a:extLst>
            </p:cNvPr>
            <p:cNvSpPr/>
            <p:nvPr/>
          </p:nvSpPr>
          <p:spPr>
            <a:xfrm>
              <a:off x="1596624" y="2610404"/>
              <a:ext cx="411887" cy="411887"/>
            </a:xfrm>
            <a:custGeom>
              <a:avLst/>
              <a:gdLst>
                <a:gd name="connsiteX0" fmla="*/ 411888 w 411887"/>
                <a:gd name="connsiteY0" fmla="*/ 232620 h 411887"/>
                <a:gd name="connsiteX1" fmla="*/ 411888 w 411887"/>
                <a:gd name="connsiteY1" fmla="*/ 179268 h 411887"/>
                <a:gd name="connsiteX2" fmla="*/ 364382 w 411887"/>
                <a:gd name="connsiteY2" fmla="*/ 162372 h 411887"/>
                <a:gd name="connsiteX3" fmla="*/ 348773 w 411887"/>
                <a:gd name="connsiteY3" fmla="*/ 124739 h 411887"/>
                <a:gd name="connsiteX4" fmla="*/ 370430 w 411887"/>
                <a:gd name="connsiteY4" fmla="*/ 79182 h 411887"/>
                <a:gd name="connsiteX5" fmla="*/ 332705 w 411887"/>
                <a:gd name="connsiteY5" fmla="*/ 41457 h 411887"/>
                <a:gd name="connsiteX6" fmla="*/ 287148 w 411887"/>
                <a:gd name="connsiteY6" fmla="*/ 63114 h 411887"/>
                <a:gd name="connsiteX7" fmla="*/ 249515 w 411887"/>
                <a:gd name="connsiteY7" fmla="*/ 47506 h 411887"/>
                <a:gd name="connsiteX8" fmla="*/ 232620 w 411887"/>
                <a:gd name="connsiteY8" fmla="*/ 0 h 411887"/>
                <a:gd name="connsiteX9" fmla="*/ 179268 w 411887"/>
                <a:gd name="connsiteY9" fmla="*/ 0 h 411887"/>
                <a:gd name="connsiteX10" fmla="*/ 162372 w 411887"/>
                <a:gd name="connsiteY10" fmla="*/ 47506 h 411887"/>
                <a:gd name="connsiteX11" fmla="*/ 124739 w 411887"/>
                <a:gd name="connsiteY11" fmla="*/ 63114 h 411887"/>
                <a:gd name="connsiteX12" fmla="*/ 79182 w 411887"/>
                <a:gd name="connsiteY12" fmla="*/ 41457 h 411887"/>
                <a:gd name="connsiteX13" fmla="*/ 41457 w 411887"/>
                <a:gd name="connsiteY13" fmla="*/ 79182 h 411887"/>
                <a:gd name="connsiteX14" fmla="*/ 63114 w 411887"/>
                <a:gd name="connsiteY14" fmla="*/ 124739 h 411887"/>
                <a:gd name="connsiteX15" fmla="*/ 47506 w 411887"/>
                <a:gd name="connsiteY15" fmla="*/ 162372 h 411887"/>
                <a:gd name="connsiteX16" fmla="*/ 0 w 411887"/>
                <a:gd name="connsiteY16" fmla="*/ 179268 h 411887"/>
                <a:gd name="connsiteX17" fmla="*/ 0 w 411887"/>
                <a:gd name="connsiteY17" fmla="*/ 232620 h 411887"/>
                <a:gd name="connsiteX18" fmla="*/ 47506 w 411887"/>
                <a:gd name="connsiteY18" fmla="*/ 249515 h 411887"/>
                <a:gd name="connsiteX19" fmla="*/ 63114 w 411887"/>
                <a:gd name="connsiteY19" fmla="*/ 287148 h 411887"/>
                <a:gd name="connsiteX20" fmla="*/ 41457 w 411887"/>
                <a:gd name="connsiteY20" fmla="*/ 332705 h 411887"/>
                <a:gd name="connsiteX21" fmla="*/ 79182 w 411887"/>
                <a:gd name="connsiteY21" fmla="*/ 370430 h 411887"/>
                <a:gd name="connsiteX22" fmla="*/ 124739 w 411887"/>
                <a:gd name="connsiteY22" fmla="*/ 348773 h 411887"/>
                <a:gd name="connsiteX23" fmla="*/ 162372 w 411887"/>
                <a:gd name="connsiteY23" fmla="*/ 364382 h 411887"/>
                <a:gd name="connsiteX24" fmla="*/ 179268 w 411887"/>
                <a:gd name="connsiteY24" fmla="*/ 411887 h 411887"/>
                <a:gd name="connsiteX25" fmla="*/ 232620 w 411887"/>
                <a:gd name="connsiteY25" fmla="*/ 411887 h 411887"/>
                <a:gd name="connsiteX26" fmla="*/ 249515 w 411887"/>
                <a:gd name="connsiteY26" fmla="*/ 364382 h 411887"/>
                <a:gd name="connsiteX27" fmla="*/ 287148 w 411887"/>
                <a:gd name="connsiteY27" fmla="*/ 348773 h 411887"/>
                <a:gd name="connsiteX28" fmla="*/ 332705 w 411887"/>
                <a:gd name="connsiteY28" fmla="*/ 370430 h 411887"/>
                <a:gd name="connsiteX29" fmla="*/ 370430 w 411887"/>
                <a:gd name="connsiteY29" fmla="*/ 332705 h 411887"/>
                <a:gd name="connsiteX30" fmla="*/ 348773 w 411887"/>
                <a:gd name="connsiteY30" fmla="*/ 287148 h 411887"/>
                <a:gd name="connsiteX31" fmla="*/ 364382 w 411887"/>
                <a:gd name="connsiteY31" fmla="*/ 249515 h 411887"/>
                <a:gd name="connsiteX32" fmla="*/ 411888 w 411887"/>
                <a:gd name="connsiteY32" fmla="*/ 232620 h 411887"/>
                <a:gd name="connsiteX33" fmla="*/ 307188 w 411887"/>
                <a:gd name="connsiteY33" fmla="*/ 307206 h 411887"/>
                <a:gd name="connsiteX34" fmla="*/ 205925 w 411887"/>
                <a:gd name="connsiteY34" fmla="*/ 349141 h 411887"/>
                <a:gd name="connsiteX35" fmla="*/ 104663 w 411887"/>
                <a:gd name="connsiteY35" fmla="*/ 307206 h 411887"/>
                <a:gd name="connsiteX36" fmla="*/ 62710 w 411887"/>
                <a:gd name="connsiteY36" fmla="*/ 205944 h 411887"/>
                <a:gd name="connsiteX37" fmla="*/ 104663 w 411887"/>
                <a:gd name="connsiteY37" fmla="*/ 104682 h 411887"/>
                <a:gd name="connsiteX38" fmla="*/ 205925 w 411887"/>
                <a:gd name="connsiteY38" fmla="*/ 62728 h 411887"/>
                <a:gd name="connsiteX39" fmla="*/ 307188 w 411887"/>
                <a:gd name="connsiteY39" fmla="*/ 104682 h 411887"/>
                <a:gd name="connsiteX40" fmla="*/ 349141 w 411887"/>
                <a:gd name="connsiteY40" fmla="*/ 205944 h 411887"/>
                <a:gd name="connsiteX41" fmla="*/ 307188 w 411887"/>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887" h="411887">
                  <a:moveTo>
                    <a:pt x="411888" y="232620"/>
                  </a:moveTo>
                  <a:lnTo>
                    <a:pt x="411888" y="179268"/>
                  </a:lnTo>
                  <a:lnTo>
                    <a:pt x="364382" y="162372"/>
                  </a:lnTo>
                  <a:cubicBezTo>
                    <a:pt x="360723" y="149080"/>
                    <a:pt x="355465" y="136450"/>
                    <a:pt x="348773" y="124739"/>
                  </a:cubicBezTo>
                  <a:lnTo>
                    <a:pt x="370430" y="79182"/>
                  </a:lnTo>
                  <a:lnTo>
                    <a:pt x="332705" y="41457"/>
                  </a:lnTo>
                  <a:lnTo>
                    <a:pt x="287148" y="63114"/>
                  </a:lnTo>
                  <a:cubicBezTo>
                    <a:pt x="275437" y="56441"/>
                    <a:pt x="262807" y="51164"/>
                    <a:pt x="249515" y="47506"/>
                  </a:cubicBezTo>
                  <a:lnTo>
                    <a:pt x="232620" y="0"/>
                  </a:lnTo>
                  <a:lnTo>
                    <a:pt x="179268" y="0"/>
                  </a:lnTo>
                  <a:lnTo>
                    <a:pt x="162372" y="47506"/>
                  </a:lnTo>
                  <a:cubicBezTo>
                    <a:pt x="149080" y="51146"/>
                    <a:pt x="136450" y="56422"/>
                    <a:pt x="124739" y="63114"/>
                  </a:cubicBezTo>
                  <a:lnTo>
                    <a:pt x="79182" y="41457"/>
                  </a:lnTo>
                  <a:lnTo>
                    <a:pt x="41457" y="79182"/>
                  </a:lnTo>
                  <a:lnTo>
                    <a:pt x="63114" y="124739"/>
                  </a:lnTo>
                  <a:cubicBezTo>
                    <a:pt x="56441" y="136469"/>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0" y="360723"/>
                    <a:pt x="162372" y="364382"/>
                  </a:cubicBezTo>
                  <a:lnTo>
                    <a:pt x="179268" y="411887"/>
                  </a:lnTo>
                  <a:lnTo>
                    <a:pt x="232620" y="411887"/>
                  </a:lnTo>
                  <a:lnTo>
                    <a:pt x="249515" y="364382"/>
                  </a:lnTo>
                  <a:cubicBezTo>
                    <a:pt x="262807" y="360742"/>
                    <a:pt x="275437" y="355465"/>
                    <a:pt x="287148" y="348773"/>
                  </a:cubicBezTo>
                  <a:lnTo>
                    <a:pt x="332705" y="370430"/>
                  </a:lnTo>
                  <a:lnTo>
                    <a:pt x="370430" y="332705"/>
                  </a:lnTo>
                  <a:lnTo>
                    <a:pt x="348773" y="287148"/>
                  </a:lnTo>
                  <a:cubicBezTo>
                    <a:pt x="355447" y="275437"/>
                    <a:pt x="360723" y="262807"/>
                    <a:pt x="364382" y="249515"/>
                  </a:cubicBezTo>
                  <a:lnTo>
                    <a:pt x="411888" y="232620"/>
                  </a:lnTo>
                  <a:close/>
                  <a:moveTo>
                    <a:pt x="307188" y="307206"/>
                  </a:moveTo>
                  <a:cubicBezTo>
                    <a:pt x="280144" y="334249"/>
                    <a:pt x="244184" y="349141"/>
                    <a:pt x="205925" y="349141"/>
                  </a:cubicBezTo>
                  <a:cubicBezTo>
                    <a:pt x="167667" y="349141"/>
                    <a:pt x="131707" y="334249"/>
                    <a:pt x="104663" y="307206"/>
                  </a:cubicBezTo>
                  <a:cubicBezTo>
                    <a:pt x="77620" y="280162"/>
                    <a:pt x="62710" y="244184"/>
                    <a:pt x="62710" y="205944"/>
                  </a:cubicBezTo>
                  <a:cubicBezTo>
                    <a:pt x="62710" y="167704"/>
                    <a:pt x="77601" y="131725"/>
                    <a:pt x="104663" y="104682"/>
                  </a:cubicBezTo>
                  <a:cubicBezTo>
                    <a:pt x="131707" y="77638"/>
                    <a:pt x="167686" y="62728"/>
                    <a:pt x="205925" y="62728"/>
                  </a:cubicBezTo>
                  <a:cubicBezTo>
                    <a:pt x="244165" y="62728"/>
                    <a:pt x="280144" y="77620"/>
                    <a:pt x="307188" y="104682"/>
                  </a:cubicBezTo>
                  <a:cubicBezTo>
                    <a:pt x="334231" y="131725"/>
                    <a:pt x="349141" y="167685"/>
                    <a:pt x="349141" y="205944"/>
                  </a:cubicBezTo>
                  <a:cubicBezTo>
                    <a:pt x="349141" y="244202"/>
                    <a:pt x="334250" y="280162"/>
                    <a:pt x="307188"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grpSp>
      <p:grpSp>
        <p:nvGrpSpPr>
          <p:cNvPr id="57" name="Graphic 5">
            <a:extLst>
              <a:ext uri="{FF2B5EF4-FFF2-40B4-BE49-F238E27FC236}">
                <a16:creationId xmlns:a16="http://schemas.microsoft.com/office/drawing/2014/main" id="{83FD85F4-AF9F-E345-467D-0BDB5BC2DF4C}"/>
              </a:ext>
            </a:extLst>
          </p:cNvPr>
          <p:cNvGrpSpPr/>
          <p:nvPr/>
        </p:nvGrpSpPr>
        <p:grpSpPr>
          <a:xfrm>
            <a:off x="3278968" y="4776426"/>
            <a:ext cx="411906" cy="411887"/>
            <a:chOff x="3707309" y="4787943"/>
            <a:chExt cx="411906" cy="411887"/>
          </a:xfrm>
          <a:solidFill>
            <a:srgbClr val="0092CC"/>
          </a:solidFill>
        </p:grpSpPr>
        <p:sp>
          <p:nvSpPr>
            <p:cNvPr id="58" name="Freeform: Shape 57">
              <a:extLst>
                <a:ext uri="{FF2B5EF4-FFF2-40B4-BE49-F238E27FC236}">
                  <a16:creationId xmlns:a16="http://schemas.microsoft.com/office/drawing/2014/main" id="{37FA5EC9-5EA3-9584-C24D-2AF9D0C87B5B}"/>
                </a:ext>
              </a:extLst>
            </p:cNvPr>
            <p:cNvSpPr/>
            <p:nvPr/>
          </p:nvSpPr>
          <p:spPr>
            <a:xfrm>
              <a:off x="3776380" y="4856995"/>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5074F2C5-3A49-64B9-801B-EBF2FCEEC49C}"/>
                </a:ext>
              </a:extLst>
            </p:cNvPr>
            <p:cNvSpPr/>
            <p:nvPr/>
          </p:nvSpPr>
          <p:spPr>
            <a:xfrm>
              <a:off x="3707309" y="4787943"/>
              <a:ext cx="411906" cy="411887"/>
            </a:xfrm>
            <a:custGeom>
              <a:avLst/>
              <a:gdLst>
                <a:gd name="connsiteX0" fmla="*/ 411906 w 411906"/>
                <a:gd name="connsiteY0" fmla="*/ 232620 h 411887"/>
                <a:gd name="connsiteX1" fmla="*/ 411906 w 411906"/>
                <a:gd name="connsiteY1" fmla="*/ 179268 h 411887"/>
                <a:gd name="connsiteX2" fmla="*/ 364382 w 411906"/>
                <a:gd name="connsiteY2" fmla="*/ 162372 h 411887"/>
                <a:gd name="connsiteX3" fmla="*/ 348774 w 411906"/>
                <a:gd name="connsiteY3" fmla="*/ 124739 h 411887"/>
                <a:gd name="connsiteX4" fmla="*/ 370430 w 411906"/>
                <a:gd name="connsiteY4" fmla="*/ 79182 h 411887"/>
                <a:gd name="connsiteX5" fmla="*/ 332705 w 411906"/>
                <a:gd name="connsiteY5" fmla="*/ 41457 h 411887"/>
                <a:gd name="connsiteX6" fmla="*/ 287148 w 411906"/>
                <a:gd name="connsiteY6" fmla="*/ 63114 h 411887"/>
                <a:gd name="connsiteX7" fmla="*/ 249515 w 411906"/>
                <a:gd name="connsiteY7" fmla="*/ 47506 h 411887"/>
                <a:gd name="connsiteX8" fmla="*/ 232620 w 411906"/>
                <a:gd name="connsiteY8" fmla="*/ 0 h 411887"/>
                <a:gd name="connsiteX9" fmla="*/ 179268 w 411906"/>
                <a:gd name="connsiteY9" fmla="*/ 0 h 411887"/>
                <a:gd name="connsiteX10" fmla="*/ 162373 w 411906"/>
                <a:gd name="connsiteY10" fmla="*/ 47506 h 411887"/>
                <a:gd name="connsiteX11" fmla="*/ 124739 w 411906"/>
                <a:gd name="connsiteY11" fmla="*/ 63114 h 411887"/>
                <a:gd name="connsiteX12" fmla="*/ 79182 w 411906"/>
                <a:gd name="connsiteY12" fmla="*/ 41457 h 411887"/>
                <a:gd name="connsiteX13" fmla="*/ 41457 w 411906"/>
                <a:gd name="connsiteY13" fmla="*/ 79182 h 411887"/>
                <a:gd name="connsiteX14" fmla="*/ 63114 w 411906"/>
                <a:gd name="connsiteY14" fmla="*/ 124739 h 411887"/>
                <a:gd name="connsiteX15" fmla="*/ 47506 w 411906"/>
                <a:gd name="connsiteY15" fmla="*/ 162372 h 411887"/>
                <a:gd name="connsiteX16" fmla="*/ 0 w 411906"/>
                <a:gd name="connsiteY16" fmla="*/ 179268 h 411887"/>
                <a:gd name="connsiteX17" fmla="*/ 0 w 411906"/>
                <a:gd name="connsiteY17" fmla="*/ 232620 h 411887"/>
                <a:gd name="connsiteX18" fmla="*/ 47506 w 411906"/>
                <a:gd name="connsiteY18" fmla="*/ 249515 h 411887"/>
                <a:gd name="connsiteX19" fmla="*/ 63114 w 411906"/>
                <a:gd name="connsiteY19" fmla="*/ 287148 h 411887"/>
                <a:gd name="connsiteX20" fmla="*/ 41457 w 411906"/>
                <a:gd name="connsiteY20" fmla="*/ 332705 h 411887"/>
                <a:gd name="connsiteX21" fmla="*/ 79182 w 411906"/>
                <a:gd name="connsiteY21" fmla="*/ 370430 h 411887"/>
                <a:gd name="connsiteX22" fmla="*/ 124739 w 411906"/>
                <a:gd name="connsiteY22" fmla="*/ 348773 h 411887"/>
                <a:gd name="connsiteX23" fmla="*/ 162373 w 411906"/>
                <a:gd name="connsiteY23" fmla="*/ 364382 h 411887"/>
                <a:gd name="connsiteX24" fmla="*/ 179268 w 411906"/>
                <a:gd name="connsiteY24" fmla="*/ 411887 h 411887"/>
                <a:gd name="connsiteX25" fmla="*/ 232620 w 411906"/>
                <a:gd name="connsiteY25" fmla="*/ 411887 h 411887"/>
                <a:gd name="connsiteX26" fmla="*/ 249515 w 411906"/>
                <a:gd name="connsiteY26" fmla="*/ 364382 h 411887"/>
                <a:gd name="connsiteX27" fmla="*/ 287148 w 411906"/>
                <a:gd name="connsiteY27" fmla="*/ 348773 h 411887"/>
                <a:gd name="connsiteX28" fmla="*/ 332705 w 411906"/>
                <a:gd name="connsiteY28" fmla="*/ 370430 h 411887"/>
                <a:gd name="connsiteX29" fmla="*/ 370430 w 411906"/>
                <a:gd name="connsiteY29" fmla="*/ 332705 h 411887"/>
                <a:gd name="connsiteX30" fmla="*/ 348774 w 411906"/>
                <a:gd name="connsiteY30" fmla="*/ 287148 h 411887"/>
                <a:gd name="connsiteX31" fmla="*/ 364382 w 411906"/>
                <a:gd name="connsiteY31" fmla="*/ 249515 h 411887"/>
                <a:gd name="connsiteX32" fmla="*/ 411906 w 411906"/>
                <a:gd name="connsiteY32" fmla="*/ 232620 h 411887"/>
                <a:gd name="connsiteX33" fmla="*/ 307224 w 411906"/>
                <a:gd name="connsiteY33" fmla="*/ 307206 h 411887"/>
                <a:gd name="connsiteX34" fmla="*/ 205962 w 411906"/>
                <a:gd name="connsiteY34" fmla="*/ 349159 h 411887"/>
                <a:gd name="connsiteX35" fmla="*/ 104700 w 411906"/>
                <a:gd name="connsiteY35" fmla="*/ 307206 h 411887"/>
                <a:gd name="connsiteX36" fmla="*/ 62765 w 411906"/>
                <a:gd name="connsiteY36" fmla="*/ 205944 h 411887"/>
                <a:gd name="connsiteX37" fmla="*/ 104700 w 411906"/>
                <a:gd name="connsiteY37" fmla="*/ 104682 h 411887"/>
                <a:gd name="connsiteX38" fmla="*/ 205962 w 411906"/>
                <a:gd name="connsiteY38" fmla="*/ 62746 h 411887"/>
                <a:gd name="connsiteX39" fmla="*/ 307224 w 411906"/>
                <a:gd name="connsiteY39" fmla="*/ 104682 h 411887"/>
                <a:gd name="connsiteX40" fmla="*/ 349178 w 411906"/>
                <a:gd name="connsiteY40" fmla="*/ 205944 h 411887"/>
                <a:gd name="connsiteX41" fmla="*/ 307224 w 411906"/>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906" h="411887">
                  <a:moveTo>
                    <a:pt x="411906" y="232620"/>
                  </a:moveTo>
                  <a:lnTo>
                    <a:pt x="411906" y="179268"/>
                  </a:lnTo>
                  <a:lnTo>
                    <a:pt x="364382" y="162372"/>
                  </a:lnTo>
                  <a:cubicBezTo>
                    <a:pt x="360724" y="149080"/>
                    <a:pt x="355465" y="136450"/>
                    <a:pt x="348774" y="124739"/>
                  </a:cubicBezTo>
                  <a:lnTo>
                    <a:pt x="370430" y="79182"/>
                  </a:lnTo>
                  <a:lnTo>
                    <a:pt x="332705" y="41457"/>
                  </a:lnTo>
                  <a:lnTo>
                    <a:pt x="287148" y="63114"/>
                  </a:lnTo>
                  <a:cubicBezTo>
                    <a:pt x="275419" y="56440"/>
                    <a:pt x="262807" y="51164"/>
                    <a:pt x="249515" y="47506"/>
                  </a:cubicBezTo>
                  <a:lnTo>
                    <a:pt x="232620" y="0"/>
                  </a:lnTo>
                  <a:lnTo>
                    <a:pt x="179268" y="0"/>
                  </a:lnTo>
                  <a:lnTo>
                    <a:pt x="162373" y="47506"/>
                  </a:lnTo>
                  <a:cubicBezTo>
                    <a:pt x="149081" y="51164"/>
                    <a:pt x="136450" y="56440"/>
                    <a:pt x="124739" y="63114"/>
                  </a:cubicBezTo>
                  <a:lnTo>
                    <a:pt x="79182" y="41457"/>
                  </a:lnTo>
                  <a:lnTo>
                    <a:pt x="41457" y="79182"/>
                  </a:lnTo>
                  <a:lnTo>
                    <a:pt x="63114" y="124739"/>
                  </a:lnTo>
                  <a:cubicBezTo>
                    <a:pt x="56441" y="136450"/>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1" y="360723"/>
                    <a:pt x="162373" y="364382"/>
                  </a:cubicBezTo>
                  <a:lnTo>
                    <a:pt x="179268" y="411887"/>
                  </a:lnTo>
                  <a:lnTo>
                    <a:pt x="232620" y="411887"/>
                  </a:lnTo>
                  <a:lnTo>
                    <a:pt x="249515" y="364382"/>
                  </a:lnTo>
                  <a:cubicBezTo>
                    <a:pt x="262807" y="360742"/>
                    <a:pt x="275438" y="355465"/>
                    <a:pt x="287148" y="348773"/>
                  </a:cubicBezTo>
                  <a:lnTo>
                    <a:pt x="332705" y="370430"/>
                  </a:lnTo>
                  <a:lnTo>
                    <a:pt x="370430" y="332705"/>
                  </a:lnTo>
                  <a:lnTo>
                    <a:pt x="348774" y="287148"/>
                  </a:lnTo>
                  <a:cubicBezTo>
                    <a:pt x="355447" y="275419"/>
                    <a:pt x="360724" y="262807"/>
                    <a:pt x="364382" y="249515"/>
                  </a:cubicBezTo>
                  <a:lnTo>
                    <a:pt x="411906" y="232620"/>
                  </a:lnTo>
                  <a:close/>
                  <a:moveTo>
                    <a:pt x="307224" y="307206"/>
                  </a:moveTo>
                  <a:cubicBezTo>
                    <a:pt x="280181" y="334249"/>
                    <a:pt x="244221" y="349159"/>
                    <a:pt x="205962" y="349159"/>
                  </a:cubicBezTo>
                  <a:cubicBezTo>
                    <a:pt x="167704" y="349159"/>
                    <a:pt x="131744" y="334268"/>
                    <a:pt x="104700" y="307206"/>
                  </a:cubicBezTo>
                  <a:cubicBezTo>
                    <a:pt x="77656" y="280162"/>
                    <a:pt x="62765" y="244202"/>
                    <a:pt x="62765" y="205944"/>
                  </a:cubicBezTo>
                  <a:cubicBezTo>
                    <a:pt x="62765" y="167685"/>
                    <a:pt x="77656" y="131725"/>
                    <a:pt x="104700" y="104682"/>
                  </a:cubicBezTo>
                  <a:cubicBezTo>
                    <a:pt x="131744" y="77638"/>
                    <a:pt x="167722" y="62746"/>
                    <a:pt x="205962" y="62746"/>
                  </a:cubicBezTo>
                  <a:cubicBezTo>
                    <a:pt x="244202" y="62746"/>
                    <a:pt x="280181" y="77638"/>
                    <a:pt x="307224" y="104682"/>
                  </a:cubicBezTo>
                  <a:cubicBezTo>
                    <a:pt x="334268" y="131725"/>
                    <a:pt x="349178" y="167685"/>
                    <a:pt x="349178" y="205944"/>
                  </a:cubicBezTo>
                  <a:cubicBezTo>
                    <a:pt x="349178" y="244202"/>
                    <a:pt x="334287" y="280162"/>
                    <a:pt x="307224"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Text"/>
                <a:ea typeface="+mn-ea"/>
                <a:cs typeface="+mn-cs"/>
              </a:endParaRPr>
            </a:p>
          </p:txBody>
        </p:sp>
      </p:grpSp>
      <p:sp>
        <p:nvSpPr>
          <p:cNvPr id="296" name="Title 1">
            <a:extLst>
              <a:ext uri="{FF2B5EF4-FFF2-40B4-BE49-F238E27FC236}">
                <a16:creationId xmlns:a16="http://schemas.microsoft.com/office/drawing/2014/main" id="{AD3F17CF-CD30-DB82-AA8A-AB157F9922CC}"/>
              </a:ext>
            </a:extLst>
          </p:cNvPr>
          <p:cNvSpPr txBox="1">
            <a:spLocks/>
          </p:cNvSpPr>
          <p:nvPr/>
        </p:nvSpPr>
        <p:spPr>
          <a:xfrm>
            <a:off x="4772969" y="4214809"/>
            <a:ext cx="1920240" cy="27699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Fragmentation</a:t>
            </a:r>
          </a:p>
        </p:txBody>
      </p:sp>
      <p:sp>
        <p:nvSpPr>
          <p:cNvPr id="297" name="Title 1">
            <a:extLst>
              <a:ext uri="{FF2B5EF4-FFF2-40B4-BE49-F238E27FC236}">
                <a16:creationId xmlns:a16="http://schemas.microsoft.com/office/drawing/2014/main" id="{DC531736-D6B5-E350-A734-1BE4649D2865}"/>
              </a:ext>
            </a:extLst>
          </p:cNvPr>
          <p:cNvSpPr txBox="1">
            <a:spLocks/>
          </p:cNvSpPr>
          <p:nvPr/>
        </p:nvSpPr>
        <p:spPr>
          <a:xfrm>
            <a:off x="6771709" y="4220430"/>
            <a:ext cx="1762691"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Labor-intensive tasks</a:t>
            </a:r>
          </a:p>
        </p:txBody>
      </p:sp>
      <p:sp>
        <p:nvSpPr>
          <p:cNvPr id="298" name="Title 1">
            <a:extLst>
              <a:ext uri="{FF2B5EF4-FFF2-40B4-BE49-F238E27FC236}">
                <a16:creationId xmlns:a16="http://schemas.microsoft.com/office/drawing/2014/main" id="{85707677-8171-5507-D274-36CC9CFE3349}"/>
              </a:ext>
            </a:extLst>
          </p:cNvPr>
          <p:cNvSpPr txBox="1">
            <a:spLocks/>
          </p:cNvSpPr>
          <p:nvPr/>
        </p:nvSpPr>
        <p:spPr>
          <a:xfrm>
            <a:off x="8727388" y="5995221"/>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Centralized Governance</a:t>
            </a:r>
          </a:p>
        </p:txBody>
      </p:sp>
      <p:grpSp>
        <p:nvGrpSpPr>
          <p:cNvPr id="6" name="Group 5">
            <a:extLst>
              <a:ext uri="{FF2B5EF4-FFF2-40B4-BE49-F238E27FC236}">
                <a16:creationId xmlns:a16="http://schemas.microsoft.com/office/drawing/2014/main" id="{6622A6E8-B93F-D8D0-E23B-B8D456456D45}"/>
              </a:ext>
            </a:extLst>
          </p:cNvPr>
          <p:cNvGrpSpPr/>
          <p:nvPr/>
        </p:nvGrpSpPr>
        <p:grpSpPr>
          <a:xfrm>
            <a:off x="5279982" y="2962394"/>
            <a:ext cx="906214" cy="910802"/>
            <a:chOff x="5279982" y="2962394"/>
            <a:chExt cx="906214" cy="910802"/>
          </a:xfrm>
        </p:grpSpPr>
        <p:sp>
          <p:nvSpPr>
            <p:cNvPr id="288" name="Oval 287">
              <a:extLst>
                <a:ext uri="{FF2B5EF4-FFF2-40B4-BE49-F238E27FC236}">
                  <a16:creationId xmlns:a16="http://schemas.microsoft.com/office/drawing/2014/main" id="{C5C338F5-403F-E5AB-7BA3-0579292C1194}"/>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9" name="Warning_E7BA">
              <a:extLst>
                <a:ext uri="{FF2B5EF4-FFF2-40B4-BE49-F238E27FC236}">
                  <a16:creationId xmlns:a16="http://schemas.microsoft.com/office/drawing/2014/main" id="{4B2E3AB3-73D1-C8FB-5B34-A46D05624E08}"/>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2791F0B7-2E11-0847-0376-C36B450AF298}"/>
              </a:ext>
            </a:extLst>
          </p:cNvPr>
          <p:cNvGrpSpPr/>
          <p:nvPr/>
        </p:nvGrpSpPr>
        <p:grpSpPr>
          <a:xfrm>
            <a:off x="7152555" y="2962397"/>
            <a:ext cx="906214" cy="910802"/>
            <a:chOff x="7278722" y="2962397"/>
            <a:chExt cx="906214" cy="910802"/>
          </a:xfrm>
        </p:grpSpPr>
        <p:sp>
          <p:nvSpPr>
            <p:cNvPr id="291" name="Oval 290">
              <a:extLst>
                <a:ext uri="{FF2B5EF4-FFF2-40B4-BE49-F238E27FC236}">
                  <a16:creationId xmlns:a16="http://schemas.microsoft.com/office/drawing/2014/main" id="{9442E5EA-6AE9-83BB-5B23-E023E3EC0A05}"/>
                </a:ext>
                <a:ext uri="{C183D7F6-B498-43B3-948B-1728B52AA6E4}">
                  <adec:decorative xmlns:adec="http://schemas.microsoft.com/office/drawing/2017/decorative" val="1"/>
                </a:ext>
              </a:extLst>
            </p:cNvPr>
            <p:cNvSpPr/>
            <p:nvPr/>
          </p:nvSpPr>
          <p:spPr bwMode="auto">
            <a:xfrm>
              <a:off x="7278722"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0" name="Warning_E7BA">
              <a:extLst>
                <a:ext uri="{FF2B5EF4-FFF2-40B4-BE49-F238E27FC236}">
                  <a16:creationId xmlns:a16="http://schemas.microsoft.com/office/drawing/2014/main" id="{47173DB7-08E6-B5BB-4CBE-564F5BC19E6F}"/>
                </a:ext>
                <a:ext uri="{C183D7F6-B498-43B3-948B-1728B52AA6E4}">
                  <adec:decorative xmlns:adec="http://schemas.microsoft.com/office/drawing/2017/decorative" val="1"/>
                </a:ext>
              </a:extLst>
            </p:cNvPr>
            <p:cNvSpPr>
              <a:spLocks noChangeAspect="1" noEditPoints="1"/>
            </p:cNvSpPr>
            <p:nvPr/>
          </p:nvSpPr>
          <p:spPr bwMode="auto">
            <a:xfrm>
              <a:off x="752255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83B5421C-4019-C432-9BE3-3FA498E14AE6}"/>
              </a:ext>
            </a:extLst>
          </p:cNvPr>
          <p:cNvGrpSpPr/>
          <p:nvPr/>
        </p:nvGrpSpPr>
        <p:grpSpPr>
          <a:xfrm>
            <a:off x="9025128" y="2962397"/>
            <a:ext cx="906214" cy="910802"/>
            <a:chOff x="9243597" y="2962397"/>
            <a:chExt cx="906214" cy="910802"/>
          </a:xfrm>
        </p:grpSpPr>
        <p:sp>
          <p:nvSpPr>
            <p:cNvPr id="294" name="Oval 293">
              <a:extLst>
                <a:ext uri="{FF2B5EF4-FFF2-40B4-BE49-F238E27FC236}">
                  <a16:creationId xmlns:a16="http://schemas.microsoft.com/office/drawing/2014/main" id="{56D65231-FF76-6BFB-F1F7-A64D4FB44FD7}"/>
                </a:ext>
                <a:ext uri="{C183D7F6-B498-43B3-948B-1728B52AA6E4}">
                  <adec:decorative xmlns:adec="http://schemas.microsoft.com/office/drawing/2017/decorative" val="1"/>
                </a:ext>
              </a:extLst>
            </p:cNvPr>
            <p:cNvSpPr/>
            <p:nvPr/>
          </p:nvSpPr>
          <p:spPr bwMode="auto">
            <a:xfrm>
              <a:off x="9243597"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1" name="Warning_E7BA">
              <a:extLst>
                <a:ext uri="{FF2B5EF4-FFF2-40B4-BE49-F238E27FC236}">
                  <a16:creationId xmlns:a16="http://schemas.microsoft.com/office/drawing/2014/main" id="{05A2B6A4-0A22-513C-0343-CAE058B2CFD1}"/>
                </a:ext>
                <a:ext uri="{C183D7F6-B498-43B3-948B-1728B52AA6E4}">
                  <adec:decorative xmlns:adec="http://schemas.microsoft.com/office/drawing/2017/decorative" val="1"/>
                </a:ext>
              </a:extLst>
            </p:cNvPr>
            <p:cNvSpPr>
              <a:spLocks noChangeAspect="1" noEditPoints="1"/>
            </p:cNvSpPr>
            <p:nvPr/>
          </p:nvSpPr>
          <p:spPr bwMode="auto">
            <a:xfrm>
              <a:off x="9487431"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 name="building_9" title="Icon of a building with columns in a row and a triangular top and a flag atop it">
            <a:extLst>
              <a:ext uri="{FF2B5EF4-FFF2-40B4-BE49-F238E27FC236}">
                <a16:creationId xmlns:a16="http://schemas.microsoft.com/office/drawing/2014/main" id="{04C3B2E0-F9B9-6475-D302-5FFF70A408DC}"/>
              </a:ext>
            </a:extLst>
          </p:cNvPr>
          <p:cNvSpPr>
            <a:spLocks noChangeAspect="1" noEditPoints="1"/>
          </p:cNvSpPr>
          <p:nvPr/>
        </p:nvSpPr>
        <p:spPr bwMode="auto">
          <a:xfrm>
            <a:off x="1805980" y="3253292"/>
            <a:ext cx="1233552" cy="1257583"/>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25400" cap="flat">
            <a:solidFill>
              <a:srgbClr val="C3E5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E6FF"/>
              </a:solidFill>
              <a:effectLst/>
              <a:uLnTx/>
              <a:uFillTx/>
              <a:latin typeface="Segoe UI"/>
              <a:ea typeface="+mn-ea"/>
              <a:cs typeface="+mn-cs"/>
            </a:endParaRPr>
          </a:p>
        </p:txBody>
      </p:sp>
      <p:sp>
        <p:nvSpPr>
          <p:cNvPr id="4" name="Title 1">
            <a:extLst>
              <a:ext uri="{FF2B5EF4-FFF2-40B4-BE49-F238E27FC236}">
                <a16:creationId xmlns:a16="http://schemas.microsoft.com/office/drawing/2014/main" id="{91F49838-3E30-80C3-46D1-4B1E05AC6D2A}"/>
              </a:ext>
            </a:extLst>
          </p:cNvPr>
          <p:cNvSpPr txBox="1">
            <a:spLocks/>
          </p:cNvSpPr>
          <p:nvPr/>
        </p:nvSpPr>
        <p:spPr>
          <a:xfrm>
            <a:off x="10390688" y="4224722"/>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Technical interfaces</a:t>
            </a:r>
          </a:p>
        </p:txBody>
      </p:sp>
      <p:grpSp>
        <p:nvGrpSpPr>
          <p:cNvPr id="13" name="Group 12">
            <a:extLst>
              <a:ext uri="{FF2B5EF4-FFF2-40B4-BE49-F238E27FC236}">
                <a16:creationId xmlns:a16="http://schemas.microsoft.com/office/drawing/2014/main" id="{120ABF16-0C65-6D81-9CDD-25FD473EEDC6}"/>
              </a:ext>
            </a:extLst>
          </p:cNvPr>
          <p:cNvGrpSpPr/>
          <p:nvPr/>
        </p:nvGrpSpPr>
        <p:grpSpPr>
          <a:xfrm>
            <a:off x="10897701" y="2941721"/>
            <a:ext cx="906214" cy="910802"/>
            <a:chOff x="10897701" y="2941721"/>
            <a:chExt cx="906214" cy="910802"/>
          </a:xfrm>
        </p:grpSpPr>
        <p:sp>
          <p:nvSpPr>
            <p:cNvPr id="3" name="Oval 2">
              <a:extLst>
                <a:ext uri="{FF2B5EF4-FFF2-40B4-BE49-F238E27FC236}">
                  <a16:creationId xmlns:a16="http://schemas.microsoft.com/office/drawing/2014/main" id="{53C8D123-07FA-9C32-0355-4EE34D1D8FD7}"/>
                </a:ext>
                <a:ext uri="{C183D7F6-B498-43B3-948B-1728B52AA6E4}">
                  <adec:decorative xmlns:adec="http://schemas.microsoft.com/office/drawing/2017/decorative" val="1"/>
                </a:ext>
              </a:extLst>
            </p:cNvPr>
            <p:cNvSpPr/>
            <p:nvPr/>
          </p:nvSpPr>
          <p:spPr bwMode="auto">
            <a:xfrm>
              <a:off x="10897701" y="2941721"/>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5" name="Warning_E7BA">
              <a:extLst>
                <a:ext uri="{FF2B5EF4-FFF2-40B4-BE49-F238E27FC236}">
                  <a16:creationId xmlns:a16="http://schemas.microsoft.com/office/drawing/2014/main" id="{7C1B0832-2502-9D69-DBAD-285DF718F249}"/>
                </a:ext>
                <a:ext uri="{C183D7F6-B498-43B3-948B-1728B52AA6E4}">
                  <adec:decorative xmlns:adec="http://schemas.microsoft.com/office/drawing/2017/decorative" val="1"/>
                </a:ext>
              </a:extLst>
            </p:cNvPr>
            <p:cNvSpPr>
              <a:spLocks noChangeAspect="1" noEditPoints="1"/>
            </p:cNvSpPr>
            <p:nvPr/>
          </p:nvSpPr>
          <p:spPr bwMode="auto">
            <a:xfrm>
              <a:off x="11141535" y="3168690"/>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26DBB150-C69B-27DF-E816-E36BED66D3C7}"/>
              </a:ext>
            </a:extLst>
          </p:cNvPr>
          <p:cNvGrpSpPr/>
          <p:nvPr/>
        </p:nvGrpSpPr>
        <p:grpSpPr>
          <a:xfrm>
            <a:off x="5206488" y="5006435"/>
            <a:ext cx="906214" cy="910802"/>
            <a:chOff x="5279982" y="2962394"/>
            <a:chExt cx="906214" cy="910802"/>
          </a:xfrm>
        </p:grpSpPr>
        <p:sp>
          <p:nvSpPr>
            <p:cNvPr id="14" name="Oval 13">
              <a:extLst>
                <a:ext uri="{FF2B5EF4-FFF2-40B4-BE49-F238E27FC236}">
                  <a16:creationId xmlns:a16="http://schemas.microsoft.com/office/drawing/2014/main" id="{6D7C4A13-F0C7-AA9F-24E3-E80573315B6F}"/>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15" name="Warning_E7BA">
              <a:extLst>
                <a:ext uri="{FF2B5EF4-FFF2-40B4-BE49-F238E27FC236}">
                  <a16:creationId xmlns:a16="http://schemas.microsoft.com/office/drawing/2014/main" id="{1505A480-5BF0-A8E4-1191-71C08A54580A}"/>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Title 1">
            <a:extLst>
              <a:ext uri="{FF2B5EF4-FFF2-40B4-BE49-F238E27FC236}">
                <a16:creationId xmlns:a16="http://schemas.microsoft.com/office/drawing/2014/main" id="{B2393D7B-9A34-2726-DE33-386A3DD89E97}"/>
              </a:ext>
            </a:extLst>
          </p:cNvPr>
          <p:cNvSpPr txBox="1">
            <a:spLocks/>
          </p:cNvSpPr>
          <p:nvPr/>
        </p:nvSpPr>
        <p:spPr>
          <a:xfrm>
            <a:off x="4423952" y="5976641"/>
            <a:ext cx="2356609"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Different stake-holders (over time)</a:t>
            </a:r>
          </a:p>
        </p:txBody>
      </p:sp>
      <p:grpSp>
        <p:nvGrpSpPr>
          <p:cNvPr id="18" name="Group 17">
            <a:extLst>
              <a:ext uri="{FF2B5EF4-FFF2-40B4-BE49-F238E27FC236}">
                <a16:creationId xmlns:a16="http://schemas.microsoft.com/office/drawing/2014/main" id="{13322A8B-F5C0-48F0-6FC6-5DD53A63912E}"/>
              </a:ext>
            </a:extLst>
          </p:cNvPr>
          <p:cNvGrpSpPr/>
          <p:nvPr/>
        </p:nvGrpSpPr>
        <p:grpSpPr>
          <a:xfrm>
            <a:off x="7199947" y="5025959"/>
            <a:ext cx="906214" cy="910802"/>
            <a:chOff x="5279982" y="2962394"/>
            <a:chExt cx="906214" cy="910802"/>
          </a:xfrm>
        </p:grpSpPr>
        <p:sp>
          <p:nvSpPr>
            <p:cNvPr id="19" name="Oval 18">
              <a:extLst>
                <a:ext uri="{FF2B5EF4-FFF2-40B4-BE49-F238E27FC236}">
                  <a16:creationId xmlns:a16="http://schemas.microsoft.com/office/drawing/2014/main" id="{89EB29A9-A70B-918B-6A14-16E905B8B926}"/>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20" name="Warning_E7BA">
              <a:extLst>
                <a:ext uri="{FF2B5EF4-FFF2-40B4-BE49-F238E27FC236}">
                  <a16:creationId xmlns:a16="http://schemas.microsoft.com/office/drawing/2014/main" id="{8B098589-9ADF-DCE3-2D8E-71DB0211F6D0}"/>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 name="Title 1">
            <a:extLst>
              <a:ext uri="{FF2B5EF4-FFF2-40B4-BE49-F238E27FC236}">
                <a16:creationId xmlns:a16="http://schemas.microsoft.com/office/drawing/2014/main" id="{BF2882A6-CC57-D3BD-2F27-C4B23AF6D45B}"/>
              </a:ext>
            </a:extLst>
          </p:cNvPr>
          <p:cNvSpPr txBox="1">
            <a:spLocks/>
          </p:cNvSpPr>
          <p:nvPr/>
        </p:nvSpPr>
        <p:spPr>
          <a:xfrm>
            <a:off x="6606453" y="5986652"/>
            <a:ext cx="2356609"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Difficult to translate into business value</a:t>
            </a:r>
          </a:p>
        </p:txBody>
      </p:sp>
      <p:grpSp>
        <p:nvGrpSpPr>
          <p:cNvPr id="22" name="Group 21">
            <a:extLst>
              <a:ext uri="{FF2B5EF4-FFF2-40B4-BE49-F238E27FC236}">
                <a16:creationId xmlns:a16="http://schemas.microsoft.com/office/drawing/2014/main" id="{04DB109D-3B21-8117-47B7-AFB04EC5A75D}"/>
              </a:ext>
            </a:extLst>
          </p:cNvPr>
          <p:cNvGrpSpPr/>
          <p:nvPr/>
        </p:nvGrpSpPr>
        <p:grpSpPr>
          <a:xfrm>
            <a:off x="9124145" y="5025959"/>
            <a:ext cx="906214" cy="910802"/>
            <a:chOff x="5279982" y="2962394"/>
            <a:chExt cx="906214" cy="910802"/>
          </a:xfrm>
        </p:grpSpPr>
        <p:sp>
          <p:nvSpPr>
            <p:cNvPr id="23" name="Oval 22">
              <a:extLst>
                <a:ext uri="{FF2B5EF4-FFF2-40B4-BE49-F238E27FC236}">
                  <a16:creationId xmlns:a16="http://schemas.microsoft.com/office/drawing/2014/main" id="{FE4C8FFF-0928-DEBF-A852-27008C33B09D}"/>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Sans Display Semibold"/>
                <a:ea typeface="+mn-ea"/>
                <a:cs typeface="+mn-cs"/>
              </a:endParaRPr>
            </a:p>
          </p:txBody>
        </p:sp>
        <p:sp>
          <p:nvSpPr>
            <p:cNvPr id="24" name="Warning_E7BA">
              <a:extLst>
                <a:ext uri="{FF2B5EF4-FFF2-40B4-BE49-F238E27FC236}">
                  <a16:creationId xmlns:a16="http://schemas.microsoft.com/office/drawing/2014/main" id="{217405F4-9997-4E58-88A2-BCEA5D8CE06C}"/>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5" name="Title 1">
            <a:extLst>
              <a:ext uri="{FF2B5EF4-FFF2-40B4-BE49-F238E27FC236}">
                <a16:creationId xmlns:a16="http://schemas.microsoft.com/office/drawing/2014/main" id="{C9363916-1A25-FDDE-C660-A5CDB311145D}"/>
              </a:ext>
            </a:extLst>
          </p:cNvPr>
          <p:cNvSpPr txBox="1">
            <a:spLocks/>
          </p:cNvSpPr>
          <p:nvPr/>
        </p:nvSpPr>
        <p:spPr>
          <a:xfrm>
            <a:off x="8509203" y="4227726"/>
            <a:ext cx="2356609"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800" spc="0" dirty="0">
                <a:ln>
                  <a:noFill/>
                </a:ln>
                <a:solidFill>
                  <a:srgbClr val="000000"/>
                </a:solidFill>
                <a:latin typeface="Segoe UI Semibold"/>
              </a:rPr>
              <a:t>We</a:t>
            </a: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 must, but what</a:t>
            </a:r>
            <a:b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br>
            <a:r>
              <a:rPr kumimoji="0" lang="en-US" sz="1800" b="0" i="0" u="none" strike="noStrike" kern="1200" cap="none" spc="0" normalizeH="0" baseline="0" noProof="0" dirty="0">
                <a:ln>
                  <a:noFill/>
                </a:ln>
                <a:solidFill>
                  <a:srgbClr val="000000"/>
                </a:solidFill>
                <a:effectLst/>
                <a:uLnTx/>
                <a:uFillTx/>
                <a:latin typeface="Segoe UI Semibold"/>
                <a:ea typeface="+mn-ea"/>
                <a:cs typeface="Segoe UI" pitchFamily="34" charset="0"/>
              </a:rPr>
              <a:t>is it we must do ?</a:t>
            </a:r>
          </a:p>
        </p:txBody>
      </p:sp>
    </p:spTree>
    <p:extLst>
      <p:ext uri="{BB962C8B-B14F-4D97-AF65-F5344CB8AC3E}">
        <p14:creationId xmlns:p14="http://schemas.microsoft.com/office/powerpoint/2010/main" val="229052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B5D6DAD-EC2A-B4FE-E2C1-7C14BC53463F}"/>
              </a:ext>
            </a:extLst>
          </p:cNvPr>
          <p:cNvPicPr>
            <a:picLocks noChangeAspect="1"/>
          </p:cNvPicPr>
          <p:nvPr/>
        </p:nvPicPr>
        <p:blipFill>
          <a:blip r:embed="rId3"/>
          <a:stretch>
            <a:fillRect/>
          </a:stretch>
        </p:blipFill>
        <p:spPr>
          <a:xfrm>
            <a:off x="0" y="3601039"/>
            <a:ext cx="12207240" cy="910712"/>
          </a:xfrm>
          <a:prstGeom prst="rect">
            <a:avLst/>
          </a:prstGeom>
        </p:spPr>
      </p:pic>
      <p:sp>
        <p:nvSpPr>
          <p:cNvPr id="15" name="Rounded Rectangle 14">
            <a:extLst>
              <a:ext uri="{FF2B5EF4-FFF2-40B4-BE49-F238E27FC236}">
                <a16:creationId xmlns:a16="http://schemas.microsoft.com/office/drawing/2014/main" id="{8338AC54-2256-7F19-1396-86730D40718B}"/>
              </a:ext>
            </a:extLst>
          </p:cNvPr>
          <p:cNvSpPr/>
          <p:nvPr/>
        </p:nvSpPr>
        <p:spPr>
          <a:xfrm>
            <a:off x="5766547" y="1736526"/>
            <a:ext cx="3222910" cy="1736124"/>
          </a:xfrm>
          <a:prstGeom prst="roundRect">
            <a:avLst>
              <a:gd name="adj" fmla="val 9143"/>
            </a:avLst>
          </a:prstGeom>
          <a:solidFill>
            <a:srgbClr val="FFFFFF">
              <a:alpha val="65308"/>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Sans Text" panose="020F0502020204030204"/>
              <a:ea typeface="+mn-ea"/>
              <a:cs typeface="+mn-cs"/>
            </a:endParaRPr>
          </a:p>
        </p:txBody>
      </p:sp>
      <p:sp>
        <p:nvSpPr>
          <p:cNvPr id="14" name="Rounded Rectangle 13">
            <a:extLst>
              <a:ext uri="{FF2B5EF4-FFF2-40B4-BE49-F238E27FC236}">
                <a16:creationId xmlns:a16="http://schemas.microsoft.com/office/drawing/2014/main" id="{5897359C-B6F7-92DC-6E8B-4AA26D9B963D}"/>
              </a:ext>
            </a:extLst>
          </p:cNvPr>
          <p:cNvSpPr/>
          <p:nvPr/>
        </p:nvSpPr>
        <p:spPr>
          <a:xfrm>
            <a:off x="8371878" y="4627017"/>
            <a:ext cx="3222910" cy="1846608"/>
          </a:xfrm>
          <a:prstGeom prst="roundRect">
            <a:avLst>
              <a:gd name="adj" fmla="val 8077"/>
            </a:avLst>
          </a:prstGeom>
          <a:solidFill>
            <a:srgbClr val="FFFFFF">
              <a:alpha val="64786"/>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Decentralized governance</a:t>
            </a:r>
          </a:p>
        </p:txBody>
      </p:sp>
      <p:sp>
        <p:nvSpPr>
          <p:cNvPr id="13" name="Rounded Rectangle 12">
            <a:extLst>
              <a:ext uri="{FF2B5EF4-FFF2-40B4-BE49-F238E27FC236}">
                <a16:creationId xmlns:a16="http://schemas.microsoft.com/office/drawing/2014/main" id="{7FA5A399-15A7-868A-E7AB-D4A4B6638DC4}"/>
              </a:ext>
            </a:extLst>
          </p:cNvPr>
          <p:cNvSpPr/>
          <p:nvPr/>
        </p:nvSpPr>
        <p:spPr>
          <a:xfrm>
            <a:off x="3130466" y="4627018"/>
            <a:ext cx="3222910" cy="1846608"/>
          </a:xfrm>
          <a:prstGeom prst="roundRect">
            <a:avLst>
              <a:gd name="adj" fmla="val 10098"/>
            </a:avLst>
          </a:prstGeom>
          <a:solidFill>
            <a:srgbClr val="FFFFFF">
              <a:alpha val="65308"/>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Sans Text" panose="020F0502020204030204"/>
              <a:ea typeface="+mn-ea"/>
              <a:cs typeface="+mn-cs"/>
            </a:endParaRPr>
          </a:p>
        </p:txBody>
      </p:sp>
      <p:sp>
        <p:nvSpPr>
          <p:cNvPr id="11" name="Rounded Rectangle 10">
            <a:extLst>
              <a:ext uri="{FF2B5EF4-FFF2-40B4-BE49-F238E27FC236}">
                <a16:creationId xmlns:a16="http://schemas.microsoft.com/office/drawing/2014/main" id="{1E4ACD33-D578-82A2-407C-B2DCD511335F}"/>
              </a:ext>
            </a:extLst>
          </p:cNvPr>
          <p:cNvSpPr/>
          <p:nvPr/>
        </p:nvSpPr>
        <p:spPr>
          <a:xfrm>
            <a:off x="557938" y="1736526"/>
            <a:ext cx="3222910" cy="1736124"/>
          </a:xfrm>
          <a:prstGeom prst="roundRect">
            <a:avLst>
              <a:gd name="adj" fmla="val 8605"/>
            </a:avLst>
          </a:prstGeom>
          <a:solidFill>
            <a:srgbClr val="FFFFFF">
              <a:alpha val="65308"/>
            </a:srgbClr>
          </a:solidFill>
          <a:ln w="19050">
            <a:noFill/>
          </a:ln>
          <a:effectLst>
            <a:outerShdw blurRad="1524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Sans Text" panose="020F0502020204030204"/>
              <a:ea typeface="+mn-ea"/>
              <a:cs typeface="+mn-cs"/>
            </a:endParaRPr>
          </a:p>
        </p:txBody>
      </p:sp>
      <p:sp>
        <p:nvSpPr>
          <p:cNvPr id="7" name="TextBox 6">
            <a:extLst>
              <a:ext uri="{FF2B5EF4-FFF2-40B4-BE49-F238E27FC236}">
                <a16:creationId xmlns:a16="http://schemas.microsoft.com/office/drawing/2014/main" id="{176ED1F2-D74C-7943-84DF-FD00DB71EA33}"/>
              </a:ext>
            </a:extLst>
          </p:cNvPr>
          <p:cNvSpPr txBox="1"/>
          <p:nvPr/>
        </p:nvSpPr>
        <p:spPr>
          <a:xfrm>
            <a:off x="6103620" y="2266375"/>
            <a:ext cx="2520538" cy="276999"/>
          </a:xfrm>
          <a:prstGeom prst="rect">
            <a:avLst/>
          </a:prstGeom>
          <a:noFill/>
        </p:spPr>
        <p:txBody>
          <a:bodyPr wrap="square" lIns="0" tIns="0" rIns="0" bIns="0" anchor="t"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Centralized governance </a:t>
            </a:r>
          </a:p>
        </p:txBody>
      </p:sp>
      <p:sp>
        <p:nvSpPr>
          <p:cNvPr id="21" name="TextBox 20">
            <a:extLst>
              <a:ext uri="{FF2B5EF4-FFF2-40B4-BE49-F238E27FC236}">
                <a16:creationId xmlns:a16="http://schemas.microsoft.com/office/drawing/2014/main" id="{3E15588D-7053-1E4D-A857-55D3FB79E152}"/>
              </a:ext>
            </a:extLst>
          </p:cNvPr>
          <p:cNvSpPr txBox="1"/>
          <p:nvPr/>
        </p:nvSpPr>
        <p:spPr>
          <a:xfrm>
            <a:off x="3415551" y="5411822"/>
            <a:ext cx="2652740" cy="276999"/>
          </a:xfrm>
          <a:prstGeom prst="rect">
            <a:avLst/>
          </a:prstGeom>
          <a:noFill/>
        </p:spPr>
        <p:txBody>
          <a:bodyPr wrap="square" lIns="0" tIns="0" rIns="0" bIns="0" anchor="ctr"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Data silos</a:t>
            </a:r>
          </a:p>
        </p:txBody>
      </p:sp>
      <p:sp>
        <p:nvSpPr>
          <p:cNvPr id="18" name="TextBox 17">
            <a:extLst>
              <a:ext uri="{FF2B5EF4-FFF2-40B4-BE49-F238E27FC236}">
                <a16:creationId xmlns:a16="http://schemas.microsoft.com/office/drawing/2014/main" id="{888A8CE6-0A54-0B46-9467-757C2A0B3532}"/>
              </a:ext>
            </a:extLst>
          </p:cNvPr>
          <p:cNvSpPr txBox="1"/>
          <p:nvPr/>
        </p:nvSpPr>
        <p:spPr>
          <a:xfrm>
            <a:off x="951168" y="2341590"/>
            <a:ext cx="2436450" cy="484748"/>
          </a:xfrm>
          <a:prstGeom prst="rect">
            <a:avLst/>
          </a:prstGeom>
          <a:noFill/>
        </p:spPr>
        <p:txBody>
          <a:bodyPr wrap="square" lIns="0" tIns="0" rIns="0" bIns="0" anchor="ctr"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114"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Data estate expansion</a:t>
            </a:r>
          </a:p>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Segoe Sans Text"/>
              <a:ea typeface="+mn-ea"/>
              <a:cs typeface="Segoe UI"/>
            </a:endParaRPr>
          </a:p>
        </p:txBody>
      </p:sp>
      <p:sp>
        <p:nvSpPr>
          <p:cNvPr id="40" name="Title 1">
            <a:extLst>
              <a:ext uri="{FF2B5EF4-FFF2-40B4-BE49-F238E27FC236}">
                <a16:creationId xmlns:a16="http://schemas.microsoft.com/office/drawing/2014/main" id="{323A6375-ED23-FE89-1617-E436A5717922}"/>
              </a:ext>
            </a:extLst>
          </p:cNvPr>
          <p:cNvSpPr txBox="1">
            <a:spLocks noGrp="1"/>
          </p:cNvSpPr>
          <p:nvPr>
            <p:ph type="title" idx="4294967295"/>
          </p:nvPr>
        </p:nvSpPr>
        <p:spPr>
          <a:xfrm>
            <a:off x="990600" y="606425"/>
            <a:ext cx="11201400" cy="7239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lang="en-US" sz="3200" b="0" i="0" kern="1200" cap="none" spc="-50" baseline="0">
                <a:ln w="3175">
                  <a:noFill/>
                </a:ln>
                <a:solidFill>
                  <a:schemeClr val="tx1"/>
                </a:solidFill>
                <a:effectLst/>
                <a:latin typeface="Segoe Sans Display" pitchFamily="2" charset="0"/>
                <a:ea typeface="+mj-ea"/>
                <a:cs typeface="Segoe Sans Display" pitchFamily="2"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sz="3600" b="1" spc="0" dirty="0">
                <a:ln>
                  <a:noFill/>
                </a:ln>
                <a:solidFill>
                  <a:schemeClr val="accent2"/>
                </a:solidFill>
                <a:latin typeface="Segoe Pro Display Semibold" panose="020B0502040504020203" pitchFamily="34" charset="0"/>
              </a:rPr>
              <a:t>Microsoft has faced similar challenges </a:t>
            </a:r>
            <a:endParaRPr lang="en-US" sz="3600" b="1" spc="0" dirty="0">
              <a:ln>
                <a:noFill/>
              </a:ln>
              <a:solidFill>
                <a:schemeClr val="accent1"/>
              </a:solidFill>
              <a:latin typeface="Segoe Pro Display Semibold" panose="020B0502040504020203" pitchFamily="34" charset="0"/>
            </a:endParaRPr>
          </a:p>
        </p:txBody>
      </p:sp>
      <p:sp>
        <p:nvSpPr>
          <p:cNvPr id="23" name="Slide Number Placeholder 2">
            <a:extLst>
              <a:ext uri="{FF2B5EF4-FFF2-40B4-BE49-F238E27FC236}">
                <a16:creationId xmlns:a16="http://schemas.microsoft.com/office/drawing/2014/main" id="{B4E38DEF-9694-0F0B-75ED-9FC3817DE18E}"/>
              </a:ext>
            </a:extLst>
          </p:cNvPr>
          <p:cNvSpPr>
            <a:spLocks noGrp="1"/>
          </p:cNvSpPr>
          <p:nvPr>
            <p:ph type="sldNum" sz="quarter" idx="4294967295"/>
          </p:nvPr>
        </p:nvSpPr>
        <p:spPr>
          <a:xfrm>
            <a:off x="0" y="6311900"/>
            <a:ext cx="40005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1C1C1C"/>
              </a:solidFill>
              <a:effectLst/>
              <a:uLnTx/>
              <a:uFillTx/>
              <a:latin typeface="Segoe Sans Small Semilight" pitchFamily="2" charset="0"/>
              <a:ea typeface="+mn-ea"/>
              <a:cs typeface="Segoe Sans Small Semilight" pitchFamily="2" charset="0"/>
            </a:endParaRPr>
          </a:p>
        </p:txBody>
      </p:sp>
      <p:sp>
        <p:nvSpPr>
          <p:cNvPr id="41" name="Content Placeholder 5">
            <a:extLst>
              <a:ext uri="{FF2B5EF4-FFF2-40B4-BE49-F238E27FC236}">
                <a16:creationId xmlns:a16="http://schemas.microsoft.com/office/drawing/2014/main" id="{5BAC0933-AAB4-CF61-2001-40AA3BBBF2D5}"/>
              </a:ext>
            </a:extLst>
          </p:cNvPr>
          <p:cNvSpPr txBox="1">
            <a:spLocks/>
          </p:cNvSpPr>
          <p:nvPr/>
        </p:nvSpPr>
        <p:spPr>
          <a:xfrm>
            <a:off x="474364" y="1471474"/>
            <a:ext cx="9395263" cy="785736"/>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bg1"/>
                </a:solidFill>
                <a:latin typeface="Segoe Sans Text" pitchFamily="2" charset="0"/>
                <a:ea typeface="+mn-ea"/>
                <a:cs typeface="Segoe Sans Tex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srgbClr val="000000"/>
              </a:solidFill>
              <a:effectLst/>
              <a:uLnTx/>
              <a:uFillTx/>
              <a:latin typeface="Segoe Sans Text" pitchFamily="2" charset="0"/>
              <a:ea typeface="+mn-ea"/>
              <a:cs typeface="Segoe Sans Text" pitchFamily="2" charset="0"/>
            </a:endParaRPr>
          </a:p>
        </p:txBody>
      </p:sp>
      <p:sp>
        <p:nvSpPr>
          <p:cNvPr id="68" name="Eye" title="Icon of an eye">
            <a:extLst>
              <a:ext uri="{FF2B5EF4-FFF2-40B4-BE49-F238E27FC236}">
                <a16:creationId xmlns:a16="http://schemas.microsoft.com/office/drawing/2014/main" id="{9D8202C8-26D1-87EB-5227-84D6DE478214}"/>
              </a:ext>
            </a:extLst>
          </p:cNvPr>
          <p:cNvSpPr>
            <a:spLocks noChangeAspect="1" noEditPoints="1"/>
          </p:cNvSpPr>
          <p:nvPr/>
        </p:nvSpPr>
        <p:spPr bwMode="auto">
          <a:xfrm>
            <a:off x="1963652" y="3939291"/>
            <a:ext cx="411480" cy="22718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 name="Commitments_EC4D" title="Icon of a handshake">
            <a:extLst>
              <a:ext uri="{FF2B5EF4-FFF2-40B4-BE49-F238E27FC236}">
                <a16:creationId xmlns:a16="http://schemas.microsoft.com/office/drawing/2014/main" id="{A7354688-9E3D-2BD6-28D3-A96D0C138FDE}"/>
              </a:ext>
            </a:extLst>
          </p:cNvPr>
          <p:cNvSpPr>
            <a:spLocks noChangeAspect="1" noEditPoints="1"/>
          </p:cNvSpPr>
          <p:nvPr/>
        </p:nvSpPr>
        <p:spPr bwMode="auto">
          <a:xfrm>
            <a:off x="4545740" y="3879989"/>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9" name="Script_F03A" title="Icon of an unrolled document with writing on it">
            <a:extLst>
              <a:ext uri="{FF2B5EF4-FFF2-40B4-BE49-F238E27FC236}">
                <a16:creationId xmlns:a16="http://schemas.microsoft.com/office/drawing/2014/main" id="{C2388833-7094-D472-A81A-9C62031A5528}"/>
              </a:ext>
            </a:extLst>
          </p:cNvPr>
          <p:cNvSpPr>
            <a:spLocks noChangeAspect="1" noEditPoints="1"/>
          </p:cNvSpPr>
          <p:nvPr/>
        </p:nvSpPr>
        <p:spPr bwMode="auto">
          <a:xfrm>
            <a:off x="9714402" y="3870004"/>
            <a:ext cx="365583" cy="365760"/>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2" name="graph_9" title="Icon of a line chart with connected circles at varying points">
            <a:extLst>
              <a:ext uri="{FF2B5EF4-FFF2-40B4-BE49-F238E27FC236}">
                <a16:creationId xmlns:a16="http://schemas.microsoft.com/office/drawing/2014/main" id="{5E7285E6-159F-E2FD-4798-FC2E9F1F40D8}"/>
              </a:ext>
            </a:extLst>
          </p:cNvPr>
          <p:cNvSpPr>
            <a:spLocks noChangeAspect="1" noEditPoints="1"/>
          </p:cNvSpPr>
          <p:nvPr/>
        </p:nvSpPr>
        <p:spPr bwMode="auto">
          <a:xfrm>
            <a:off x="7123917" y="3870000"/>
            <a:ext cx="405344" cy="3657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flat">
            <a:solidFill>
              <a:srgbClr val="FFFDF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DB2AF764-545D-E046-111F-A9B114ACE850}"/>
              </a:ext>
            </a:extLst>
          </p:cNvPr>
          <p:cNvCxnSpPr>
            <a:cxnSpLocks/>
          </p:cNvCxnSpPr>
          <p:nvPr/>
        </p:nvCxnSpPr>
        <p:spPr>
          <a:xfrm flipV="1">
            <a:off x="2169393" y="3472650"/>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4C455C-0982-1537-AEF1-93DFDB7CF49E}"/>
              </a:ext>
            </a:extLst>
          </p:cNvPr>
          <p:cNvCxnSpPr>
            <a:cxnSpLocks/>
          </p:cNvCxnSpPr>
          <p:nvPr/>
        </p:nvCxnSpPr>
        <p:spPr>
          <a:xfrm flipV="1">
            <a:off x="4741921" y="4386604"/>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484AB11-2A80-A9AF-0A6A-595258263D50}"/>
              </a:ext>
            </a:extLst>
          </p:cNvPr>
          <p:cNvCxnSpPr>
            <a:cxnSpLocks/>
          </p:cNvCxnSpPr>
          <p:nvPr/>
        </p:nvCxnSpPr>
        <p:spPr>
          <a:xfrm flipV="1">
            <a:off x="7318478" y="3482172"/>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81C5BEE-A1D4-02A6-59AD-939ABF3C883C}"/>
              </a:ext>
            </a:extLst>
          </p:cNvPr>
          <p:cNvCxnSpPr>
            <a:cxnSpLocks/>
          </p:cNvCxnSpPr>
          <p:nvPr/>
        </p:nvCxnSpPr>
        <p:spPr>
          <a:xfrm flipV="1">
            <a:off x="9891006" y="4396126"/>
            <a:ext cx="0" cy="231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669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73C569AD-3469-257C-0B41-CD5EC67CD26A}"/>
              </a:ext>
              <a:ext uri="{C183D7F6-B498-43B3-948B-1728B52AA6E4}">
                <adec:decorative xmlns:adec="http://schemas.microsoft.com/office/drawing/2017/decorative" val="1"/>
              </a:ext>
            </a:extLst>
          </p:cNvPr>
          <p:cNvSpPr/>
          <p:nvPr/>
        </p:nvSpPr>
        <p:spPr bwMode="auto">
          <a:xfrm>
            <a:off x="588263" y="1363523"/>
            <a:ext cx="11018837" cy="4761506"/>
          </a:xfrm>
          <a:prstGeom prst="roundRect">
            <a:avLst>
              <a:gd name="adj" fmla="val 7748"/>
            </a:avLst>
          </a:prstGeom>
          <a:gradFill flip="none" rotWithShape="1">
            <a:gsLst>
              <a:gs pos="0">
                <a:srgbClr val="FFFFFF"/>
              </a:gs>
              <a:gs pos="100000">
                <a:srgbClr val="C3E5FF"/>
              </a:gs>
            </a:gsLst>
            <a:lin ang="18900000" scaled="1"/>
            <a:tileRect/>
          </a:gra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59" name="Rectangle: Single Corner Rounded 58">
            <a:extLst>
              <a:ext uri="{FF2B5EF4-FFF2-40B4-BE49-F238E27FC236}">
                <a16:creationId xmlns:a16="http://schemas.microsoft.com/office/drawing/2014/main" id="{64E0F68F-EEF9-7F26-B5E9-D28AD52881ED}"/>
              </a:ext>
              <a:ext uri="{C183D7F6-B498-43B3-948B-1728B52AA6E4}">
                <adec:decorative xmlns:adec="http://schemas.microsoft.com/office/drawing/2017/decorative" val="1"/>
              </a:ext>
            </a:extLst>
          </p:cNvPr>
          <p:cNvSpPr/>
          <p:nvPr/>
        </p:nvSpPr>
        <p:spPr bwMode="auto">
          <a:xfrm rot="16200000" flipH="1">
            <a:off x="1135184" y="1650919"/>
            <a:ext cx="2698558" cy="3478664"/>
          </a:xfrm>
          <a:prstGeom prst="round1Rect">
            <a:avLst>
              <a:gd name="adj" fmla="val 9422"/>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Sans Display Semibold"/>
              <a:ea typeface="+mn-ea"/>
              <a:cs typeface="+mn-cs"/>
            </a:endParaRPr>
          </a:p>
        </p:txBody>
      </p:sp>
      <p:sp>
        <p:nvSpPr>
          <p:cNvPr id="55" name="Free-form: Shape 1079">
            <a:extLst>
              <a:ext uri="{FF2B5EF4-FFF2-40B4-BE49-F238E27FC236}">
                <a16:creationId xmlns:a16="http://schemas.microsoft.com/office/drawing/2014/main" id="{EF97EA6A-F4C7-020F-8E41-4579A9AFED2B}"/>
              </a:ext>
              <a:ext uri="{C183D7F6-B498-43B3-948B-1728B52AA6E4}">
                <adec:decorative xmlns:adec="http://schemas.microsoft.com/office/drawing/2017/decorative" val="1"/>
              </a:ext>
            </a:extLst>
          </p:cNvPr>
          <p:cNvSpPr>
            <a:spLocks/>
          </p:cNvSpPr>
          <p:nvPr/>
        </p:nvSpPr>
        <p:spPr bwMode="auto">
          <a:xfrm>
            <a:off x="4371524" y="2040970"/>
            <a:ext cx="3478664" cy="2698556"/>
          </a:xfrm>
          <a:prstGeom prst="rect">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Sans Display Semibold"/>
              <a:ea typeface="+mn-ea"/>
              <a:cs typeface="+mn-cs"/>
            </a:endParaRPr>
          </a:p>
        </p:txBody>
      </p:sp>
      <p:sp>
        <p:nvSpPr>
          <p:cNvPr id="57" name="Rectangle: Single Corner Rounded 56">
            <a:extLst>
              <a:ext uri="{FF2B5EF4-FFF2-40B4-BE49-F238E27FC236}">
                <a16:creationId xmlns:a16="http://schemas.microsoft.com/office/drawing/2014/main" id="{F9865AD8-17E7-3BA8-E5F1-783F2FE625C9}"/>
              </a:ext>
              <a:ext uri="{C183D7F6-B498-43B3-948B-1728B52AA6E4}">
                <adec:decorative xmlns:adec="http://schemas.microsoft.com/office/drawing/2017/decorative" val="1"/>
              </a:ext>
            </a:extLst>
          </p:cNvPr>
          <p:cNvSpPr>
            <a:spLocks/>
          </p:cNvSpPr>
          <p:nvPr/>
        </p:nvSpPr>
        <p:spPr bwMode="auto">
          <a:xfrm rot="5400000">
            <a:off x="8361623" y="1650919"/>
            <a:ext cx="2698560" cy="3478664"/>
          </a:xfrm>
          <a:prstGeom prst="round1Rect">
            <a:avLst>
              <a:gd name="adj" fmla="val 9422"/>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Sans Display Semibold"/>
              <a:ea typeface="+mn-ea"/>
              <a:cs typeface="+mn-cs"/>
            </a:endParaRPr>
          </a:p>
        </p:txBody>
      </p:sp>
      <p:sp>
        <p:nvSpPr>
          <p:cNvPr id="15" name="Rectangle: Single Corner Rounded 14">
            <a:extLst>
              <a:ext uri="{FF2B5EF4-FFF2-40B4-BE49-F238E27FC236}">
                <a16:creationId xmlns:a16="http://schemas.microsoft.com/office/drawing/2014/main" id="{815ED102-2802-04B4-D4C1-F4C240B5173A}"/>
              </a:ext>
              <a:ext uri="{C183D7F6-B498-43B3-948B-1728B52AA6E4}">
                <adec:decorative xmlns:adec="http://schemas.microsoft.com/office/drawing/2017/decorative" val="1"/>
              </a:ext>
            </a:extLst>
          </p:cNvPr>
          <p:cNvSpPr>
            <a:spLocks/>
          </p:cNvSpPr>
          <p:nvPr/>
        </p:nvSpPr>
        <p:spPr bwMode="auto">
          <a:xfrm flipH="1">
            <a:off x="745130" y="1650846"/>
            <a:ext cx="3478664" cy="728080"/>
          </a:xfrm>
          <a:prstGeom prst="round1Rect">
            <a:avLst>
              <a:gd name="adj" fmla="val 21348"/>
            </a:avLst>
          </a:prstGeom>
          <a:gradFill>
            <a:gsLst>
              <a:gs pos="99000">
                <a:srgbClr val="23395D"/>
              </a:gs>
              <a:gs pos="0">
                <a:srgbClr val="23395D">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7" name="Rectangle 16">
            <a:extLst>
              <a:ext uri="{FF2B5EF4-FFF2-40B4-BE49-F238E27FC236}">
                <a16:creationId xmlns:a16="http://schemas.microsoft.com/office/drawing/2014/main" id="{8F55ACE8-A766-912C-5B93-70F4F0FC6F4E}"/>
              </a:ext>
              <a:ext uri="{C183D7F6-B498-43B3-948B-1728B52AA6E4}">
                <adec:decorative xmlns:adec="http://schemas.microsoft.com/office/drawing/2017/decorative" val="1"/>
              </a:ext>
            </a:extLst>
          </p:cNvPr>
          <p:cNvSpPr/>
          <p:nvPr/>
        </p:nvSpPr>
        <p:spPr bwMode="auto">
          <a:xfrm flipH="1">
            <a:off x="4371524" y="1650846"/>
            <a:ext cx="3478664" cy="731520"/>
          </a:xfrm>
          <a:prstGeom prst="rect">
            <a:avLst/>
          </a:prstGeom>
          <a:gradFill>
            <a:gsLst>
              <a:gs pos="99000">
                <a:srgbClr val="49C4B0"/>
              </a:gs>
              <a:gs pos="0">
                <a:srgbClr val="6DD0C0"/>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8" name="Rectangle: Single Corner Rounded 17">
            <a:extLst>
              <a:ext uri="{FF2B5EF4-FFF2-40B4-BE49-F238E27FC236}">
                <a16:creationId xmlns:a16="http://schemas.microsoft.com/office/drawing/2014/main" id="{E8DCC050-6173-8620-A38F-FEA29AD56BD8}"/>
              </a:ext>
              <a:ext uri="{C183D7F6-B498-43B3-948B-1728B52AA6E4}">
                <adec:decorative xmlns:adec="http://schemas.microsoft.com/office/drawing/2017/decorative" val="1"/>
              </a:ext>
            </a:extLst>
          </p:cNvPr>
          <p:cNvSpPr/>
          <p:nvPr/>
        </p:nvSpPr>
        <p:spPr bwMode="auto">
          <a:xfrm flipV="1">
            <a:off x="7971570" y="1650846"/>
            <a:ext cx="3478664" cy="731520"/>
          </a:xfrm>
          <a:prstGeom prst="round1Rect">
            <a:avLst>
              <a:gd name="adj" fmla="val 20332"/>
            </a:avLst>
          </a:prstGeom>
          <a:gradFill>
            <a:gsLst>
              <a:gs pos="99000">
                <a:srgbClr val="0078D4"/>
              </a:gs>
              <a:gs pos="0">
                <a:srgbClr val="0078D4">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2" name="Title 1">
            <a:extLst>
              <a:ext uri="{FF2B5EF4-FFF2-40B4-BE49-F238E27FC236}">
                <a16:creationId xmlns:a16="http://schemas.microsoft.com/office/drawing/2014/main" id="{71E8CFDA-6856-163A-756B-07F6A1B965D3}"/>
              </a:ext>
            </a:extLst>
          </p:cNvPr>
          <p:cNvSpPr>
            <a:spLocks noGrp="1"/>
          </p:cNvSpPr>
          <p:nvPr>
            <p:ph type="title" idx="4294967295"/>
          </p:nvPr>
        </p:nvSpPr>
        <p:spPr>
          <a:xfrm>
            <a:off x="533258" y="466918"/>
            <a:ext cx="11171237" cy="508000"/>
          </a:xfrm>
        </p:spPr>
        <p:txBody>
          <a:bodyPr/>
          <a:lstStyle/>
          <a:p>
            <a:r>
              <a:rPr lang="en-US" sz="3300" dirty="0">
                <a:solidFill>
                  <a:schemeClr val="tx1"/>
                </a:solidFill>
              </a:rPr>
              <a:t>Why Microsoft landed on a federated governance approach </a:t>
            </a:r>
          </a:p>
        </p:txBody>
      </p:sp>
      <p:sp>
        <p:nvSpPr>
          <p:cNvPr id="9" name="TextBox 8">
            <a:extLst>
              <a:ext uri="{FF2B5EF4-FFF2-40B4-BE49-F238E27FC236}">
                <a16:creationId xmlns:a16="http://schemas.microsoft.com/office/drawing/2014/main" id="{55592594-D17A-CD4F-F1EB-396C707239AC}"/>
              </a:ext>
            </a:extLst>
          </p:cNvPr>
          <p:cNvSpPr txBox="1"/>
          <p:nvPr/>
        </p:nvSpPr>
        <p:spPr>
          <a:xfrm>
            <a:off x="1654325" y="1893496"/>
            <a:ext cx="1660274"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Centralized</a:t>
            </a:r>
          </a:p>
        </p:txBody>
      </p:sp>
      <p:sp>
        <p:nvSpPr>
          <p:cNvPr id="11" name="TextBox 10">
            <a:extLst>
              <a:ext uri="{FF2B5EF4-FFF2-40B4-BE49-F238E27FC236}">
                <a16:creationId xmlns:a16="http://schemas.microsoft.com/office/drawing/2014/main" id="{E3C9BEE2-D76B-F27C-5BB2-D470DECC487D}"/>
              </a:ext>
            </a:extLst>
          </p:cNvPr>
          <p:cNvSpPr txBox="1"/>
          <p:nvPr/>
        </p:nvSpPr>
        <p:spPr>
          <a:xfrm>
            <a:off x="5117311" y="1893496"/>
            <a:ext cx="1987090"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Federated</a:t>
            </a:r>
          </a:p>
        </p:txBody>
      </p:sp>
      <p:sp>
        <p:nvSpPr>
          <p:cNvPr id="12" name="TextBox 11">
            <a:extLst>
              <a:ext uri="{FF2B5EF4-FFF2-40B4-BE49-F238E27FC236}">
                <a16:creationId xmlns:a16="http://schemas.microsoft.com/office/drawing/2014/main" id="{252E0023-41F7-BDC0-DB6F-3F6FB2CD8AAF}"/>
              </a:ext>
            </a:extLst>
          </p:cNvPr>
          <p:cNvSpPr txBox="1"/>
          <p:nvPr/>
        </p:nvSpPr>
        <p:spPr>
          <a:xfrm>
            <a:off x="8789038" y="1893496"/>
            <a:ext cx="1843731" cy="246221"/>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40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Decentralized</a:t>
            </a:r>
          </a:p>
        </p:txBody>
      </p:sp>
      <p:grpSp>
        <p:nvGrpSpPr>
          <p:cNvPr id="3" name="Group 2">
            <a:extLst>
              <a:ext uri="{FF2B5EF4-FFF2-40B4-BE49-F238E27FC236}">
                <a16:creationId xmlns:a16="http://schemas.microsoft.com/office/drawing/2014/main" id="{ECF59EEA-BB67-82F7-DF4C-C51FFAEAD141}"/>
              </a:ext>
            </a:extLst>
          </p:cNvPr>
          <p:cNvGrpSpPr/>
          <p:nvPr/>
        </p:nvGrpSpPr>
        <p:grpSpPr>
          <a:xfrm>
            <a:off x="1363921" y="2762059"/>
            <a:ext cx="2277478" cy="1714234"/>
            <a:chOff x="1572629" y="3322967"/>
            <a:chExt cx="2521072" cy="1897585"/>
          </a:xfrm>
        </p:grpSpPr>
        <p:grpSp>
          <p:nvGrpSpPr>
            <p:cNvPr id="4" name="Group 3">
              <a:extLst>
                <a:ext uri="{FF2B5EF4-FFF2-40B4-BE49-F238E27FC236}">
                  <a16:creationId xmlns:a16="http://schemas.microsoft.com/office/drawing/2014/main" id="{5700B0D6-B999-3582-E29C-D0FCE6CCB084}"/>
                </a:ext>
              </a:extLst>
            </p:cNvPr>
            <p:cNvGrpSpPr/>
            <p:nvPr/>
          </p:nvGrpSpPr>
          <p:grpSpPr>
            <a:xfrm>
              <a:off x="2473936" y="3322967"/>
              <a:ext cx="747262" cy="747261"/>
              <a:chOff x="5436393" y="3187146"/>
              <a:chExt cx="747262" cy="747261"/>
            </a:xfrm>
          </p:grpSpPr>
          <p:sp>
            <p:nvSpPr>
              <p:cNvPr id="31" name="Oval 30">
                <a:extLst>
                  <a:ext uri="{FF2B5EF4-FFF2-40B4-BE49-F238E27FC236}">
                    <a16:creationId xmlns:a16="http://schemas.microsoft.com/office/drawing/2014/main" id="{9034286D-A1A0-0B13-0315-491107CA73D5}"/>
                  </a:ext>
                </a:extLst>
              </p:cNvPr>
              <p:cNvSpPr/>
              <p:nvPr/>
            </p:nvSpPr>
            <p:spPr>
              <a:xfrm>
                <a:off x="5436393" y="3187146"/>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32" name="girl" title="Icon of a young woman">
                <a:extLst>
                  <a:ext uri="{FF2B5EF4-FFF2-40B4-BE49-F238E27FC236}">
                    <a16:creationId xmlns:a16="http://schemas.microsoft.com/office/drawing/2014/main" id="{329A9355-A43E-16BD-0C17-F0D2E5F97742}"/>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6" name="Group 5">
              <a:extLst>
                <a:ext uri="{FF2B5EF4-FFF2-40B4-BE49-F238E27FC236}">
                  <a16:creationId xmlns:a16="http://schemas.microsoft.com/office/drawing/2014/main" id="{E3C11A95-E42C-AF16-384E-7B2512830AF7}"/>
                </a:ext>
              </a:extLst>
            </p:cNvPr>
            <p:cNvGrpSpPr/>
            <p:nvPr/>
          </p:nvGrpSpPr>
          <p:grpSpPr>
            <a:xfrm>
              <a:off x="3346439" y="4159195"/>
              <a:ext cx="747262" cy="747261"/>
              <a:chOff x="6647882" y="3209499"/>
              <a:chExt cx="747262" cy="747261"/>
            </a:xfrm>
          </p:grpSpPr>
          <p:sp>
            <p:nvSpPr>
              <p:cNvPr id="28" name="Oval 27">
                <a:extLst>
                  <a:ext uri="{FF2B5EF4-FFF2-40B4-BE49-F238E27FC236}">
                    <a16:creationId xmlns:a16="http://schemas.microsoft.com/office/drawing/2014/main" id="{275F9932-7D22-E624-77CA-B804D7A78444}"/>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30" name="people_4" title="Icon of a person">
                <a:extLst>
                  <a:ext uri="{FF2B5EF4-FFF2-40B4-BE49-F238E27FC236}">
                    <a16:creationId xmlns:a16="http://schemas.microsoft.com/office/drawing/2014/main" id="{74C06884-1930-F73C-C27E-D2757FB89FF4}"/>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8" name="Group 7">
              <a:extLst>
                <a:ext uri="{FF2B5EF4-FFF2-40B4-BE49-F238E27FC236}">
                  <a16:creationId xmlns:a16="http://schemas.microsoft.com/office/drawing/2014/main" id="{A4EC5A58-23FB-A5F8-2ACC-31DFC1B111E9}"/>
                </a:ext>
              </a:extLst>
            </p:cNvPr>
            <p:cNvGrpSpPr/>
            <p:nvPr/>
          </p:nvGrpSpPr>
          <p:grpSpPr>
            <a:xfrm>
              <a:off x="1572629" y="4159195"/>
              <a:ext cx="747262" cy="747261"/>
              <a:chOff x="4878965" y="4152338"/>
              <a:chExt cx="747262" cy="747261"/>
            </a:xfrm>
          </p:grpSpPr>
          <p:sp>
            <p:nvSpPr>
              <p:cNvPr id="25" name="Oval 24">
                <a:extLst>
                  <a:ext uri="{FF2B5EF4-FFF2-40B4-BE49-F238E27FC236}">
                    <a16:creationId xmlns:a16="http://schemas.microsoft.com/office/drawing/2014/main" id="{8FDC8C00-7566-6F65-246C-D8644A3E638C}"/>
                  </a:ext>
                </a:extLst>
              </p:cNvPr>
              <p:cNvSpPr/>
              <p:nvPr/>
            </p:nvSpPr>
            <p:spPr>
              <a:xfrm>
                <a:off x="4878965" y="4152338"/>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26" name="people_12" title="Icon of three people">
                <a:extLst>
                  <a:ext uri="{FF2B5EF4-FFF2-40B4-BE49-F238E27FC236}">
                    <a16:creationId xmlns:a16="http://schemas.microsoft.com/office/drawing/2014/main" id="{DC3F97F2-ED13-0189-D570-D42474DC8779}"/>
                  </a:ext>
                </a:extLst>
              </p:cNvPr>
              <p:cNvSpPr>
                <a:spLocks noChangeAspect="1" noEditPoints="1"/>
              </p:cNvSpPr>
              <p:nvPr/>
            </p:nvSpPr>
            <p:spPr bwMode="auto">
              <a:xfrm>
                <a:off x="5023996" y="4330932"/>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10" name="Group 9">
              <a:extLst>
                <a:ext uri="{FF2B5EF4-FFF2-40B4-BE49-F238E27FC236}">
                  <a16:creationId xmlns:a16="http://schemas.microsoft.com/office/drawing/2014/main" id="{9929B7C7-152D-68AD-FD64-4EF660B81FB9}"/>
                </a:ext>
              </a:extLst>
            </p:cNvPr>
            <p:cNvGrpSpPr/>
            <p:nvPr/>
          </p:nvGrpSpPr>
          <p:grpSpPr>
            <a:xfrm>
              <a:off x="2473936" y="4473291"/>
              <a:ext cx="747262" cy="747261"/>
              <a:chOff x="4878965" y="3908890"/>
              <a:chExt cx="747262" cy="747261"/>
            </a:xfrm>
          </p:grpSpPr>
          <p:sp>
            <p:nvSpPr>
              <p:cNvPr id="20" name="Oval 19">
                <a:extLst>
                  <a:ext uri="{FF2B5EF4-FFF2-40B4-BE49-F238E27FC236}">
                    <a16:creationId xmlns:a16="http://schemas.microsoft.com/office/drawing/2014/main" id="{6C6FF877-FD02-6910-8C60-9D9B02A314AB}"/>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21" name="people_12" title="Icon of three people">
                <a:extLst>
                  <a:ext uri="{FF2B5EF4-FFF2-40B4-BE49-F238E27FC236}">
                    <a16:creationId xmlns:a16="http://schemas.microsoft.com/office/drawing/2014/main" id="{FC3AC4ED-D150-5C0C-88FF-FEB36DBCA409}"/>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cxnSp>
          <p:nvCxnSpPr>
            <p:cNvPr id="13" name="Straight Arrow Connector 12">
              <a:extLst>
                <a:ext uri="{FF2B5EF4-FFF2-40B4-BE49-F238E27FC236}">
                  <a16:creationId xmlns:a16="http://schemas.microsoft.com/office/drawing/2014/main" id="{3B437FB8-F917-72E0-4C90-41E9E086A5CD}"/>
                </a:ext>
              </a:extLst>
            </p:cNvPr>
            <p:cNvCxnSpPr>
              <a:stCxn id="31" idx="4"/>
              <a:endCxn id="20" idx="0"/>
            </p:cNvCxnSpPr>
            <p:nvPr/>
          </p:nvCxnSpPr>
          <p:spPr>
            <a:xfrm>
              <a:off x="2847568" y="4070228"/>
              <a:ext cx="0" cy="403063"/>
            </a:xfrm>
            <a:prstGeom prst="straightConnector1">
              <a:avLst/>
            </a:prstGeom>
            <a:noFill/>
            <a:ln w="19050" cap="flat" cmpd="sng" algn="ctr">
              <a:solidFill>
                <a:srgbClr val="23395D"/>
              </a:solidFill>
              <a:prstDash val="solid"/>
              <a:miter lim="800000"/>
              <a:tailEnd type="triangle"/>
            </a:ln>
            <a:effectLst/>
          </p:spPr>
        </p:cxnSp>
        <p:cxnSp>
          <p:nvCxnSpPr>
            <p:cNvPr id="14" name="Straight Arrow Connector 13">
              <a:extLst>
                <a:ext uri="{FF2B5EF4-FFF2-40B4-BE49-F238E27FC236}">
                  <a16:creationId xmlns:a16="http://schemas.microsoft.com/office/drawing/2014/main" id="{A329C4DB-9AFE-B094-3606-2440A674BFEC}"/>
                </a:ext>
              </a:extLst>
            </p:cNvPr>
            <p:cNvCxnSpPr>
              <a:cxnSpLocks/>
              <a:endCxn id="25" idx="7"/>
            </p:cNvCxnSpPr>
            <p:nvPr/>
          </p:nvCxnSpPr>
          <p:spPr>
            <a:xfrm flipH="1">
              <a:off x="2210457" y="3928364"/>
              <a:ext cx="375910" cy="340265"/>
            </a:xfrm>
            <a:prstGeom prst="straightConnector1">
              <a:avLst/>
            </a:prstGeom>
            <a:noFill/>
            <a:ln w="19050" cap="flat" cmpd="sng" algn="ctr">
              <a:solidFill>
                <a:srgbClr val="23395D"/>
              </a:solidFill>
              <a:prstDash val="solid"/>
              <a:miter lim="800000"/>
              <a:tailEnd type="triangle"/>
            </a:ln>
            <a:effectLst/>
          </p:spPr>
        </p:cxnSp>
        <p:cxnSp>
          <p:nvCxnSpPr>
            <p:cNvPr id="19" name="Straight Arrow Connector 18">
              <a:extLst>
                <a:ext uri="{FF2B5EF4-FFF2-40B4-BE49-F238E27FC236}">
                  <a16:creationId xmlns:a16="http://schemas.microsoft.com/office/drawing/2014/main" id="{DC79307F-1EB1-24A7-2F3E-61D7AFF9C1B4}"/>
                </a:ext>
              </a:extLst>
            </p:cNvPr>
            <p:cNvCxnSpPr>
              <a:cxnSpLocks/>
              <a:stCxn id="31" idx="5"/>
            </p:cNvCxnSpPr>
            <p:nvPr/>
          </p:nvCxnSpPr>
          <p:spPr>
            <a:xfrm>
              <a:off x="3111764" y="3960794"/>
              <a:ext cx="341057" cy="317036"/>
            </a:xfrm>
            <a:prstGeom prst="straightConnector1">
              <a:avLst/>
            </a:prstGeom>
            <a:noFill/>
            <a:ln w="19050" cap="flat" cmpd="sng" algn="ctr">
              <a:solidFill>
                <a:srgbClr val="23395D"/>
              </a:solidFill>
              <a:prstDash val="solid"/>
              <a:miter lim="800000"/>
              <a:tailEnd type="triangle"/>
            </a:ln>
            <a:effectLst/>
          </p:spPr>
        </p:cxnSp>
      </p:grpSp>
      <p:grpSp>
        <p:nvGrpSpPr>
          <p:cNvPr id="34" name="Group 33">
            <a:extLst>
              <a:ext uri="{FF2B5EF4-FFF2-40B4-BE49-F238E27FC236}">
                <a16:creationId xmlns:a16="http://schemas.microsoft.com/office/drawing/2014/main" id="{6E597136-97AF-62A5-E565-6537938F14C5}"/>
              </a:ext>
            </a:extLst>
          </p:cNvPr>
          <p:cNvGrpSpPr/>
          <p:nvPr/>
        </p:nvGrpSpPr>
        <p:grpSpPr>
          <a:xfrm>
            <a:off x="8628883" y="2690573"/>
            <a:ext cx="1944322" cy="1401839"/>
            <a:chOff x="6428564" y="2353809"/>
            <a:chExt cx="2152282" cy="1551777"/>
          </a:xfrm>
        </p:grpSpPr>
        <p:grpSp>
          <p:nvGrpSpPr>
            <p:cNvPr id="35" name="Group 34">
              <a:extLst>
                <a:ext uri="{FF2B5EF4-FFF2-40B4-BE49-F238E27FC236}">
                  <a16:creationId xmlns:a16="http://schemas.microsoft.com/office/drawing/2014/main" id="{CDB8F166-EC86-6ED4-7CDC-44BD0302BEF1}"/>
                </a:ext>
              </a:extLst>
            </p:cNvPr>
            <p:cNvGrpSpPr/>
            <p:nvPr/>
          </p:nvGrpSpPr>
          <p:grpSpPr>
            <a:xfrm>
              <a:off x="6428564" y="2353809"/>
              <a:ext cx="747262" cy="747261"/>
              <a:chOff x="8731867" y="3491874"/>
              <a:chExt cx="638932" cy="638931"/>
            </a:xfrm>
          </p:grpSpPr>
          <p:sp>
            <p:nvSpPr>
              <p:cNvPr id="66" name="Oval 65">
                <a:extLst>
                  <a:ext uri="{FF2B5EF4-FFF2-40B4-BE49-F238E27FC236}">
                    <a16:creationId xmlns:a16="http://schemas.microsoft.com/office/drawing/2014/main" id="{42B7E620-663B-7F02-B58A-B3C7AF512480}"/>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67" name="Group 66">
                <a:extLst>
                  <a:ext uri="{FF2B5EF4-FFF2-40B4-BE49-F238E27FC236}">
                    <a16:creationId xmlns:a16="http://schemas.microsoft.com/office/drawing/2014/main" id="{64F93684-FDAF-D1EB-7C4B-90BEC15F0836}"/>
                  </a:ext>
                </a:extLst>
              </p:cNvPr>
              <p:cNvGrpSpPr/>
              <p:nvPr/>
            </p:nvGrpSpPr>
            <p:grpSpPr>
              <a:xfrm>
                <a:off x="8881191" y="3617987"/>
                <a:ext cx="340302" cy="386705"/>
                <a:chOff x="1325348" y="4418696"/>
                <a:chExt cx="728381" cy="827705"/>
              </a:xfrm>
            </p:grpSpPr>
            <p:sp>
              <p:nvSpPr>
                <p:cNvPr id="68" name="people_4" title="Icon of a person">
                  <a:extLst>
                    <a:ext uri="{FF2B5EF4-FFF2-40B4-BE49-F238E27FC236}">
                      <a16:creationId xmlns:a16="http://schemas.microsoft.com/office/drawing/2014/main" id="{779406E3-17F7-9C12-0399-5792F5EE5C48}"/>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69" name="people_4" title="Icon of a person">
                  <a:extLst>
                    <a:ext uri="{FF2B5EF4-FFF2-40B4-BE49-F238E27FC236}">
                      <a16:creationId xmlns:a16="http://schemas.microsoft.com/office/drawing/2014/main" id="{3127E734-A079-0969-C709-83BB984FAA64}"/>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70" name="people_4" title="Icon of a person">
                  <a:extLst>
                    <a:ext uri="{FF2B5EF4-FFF2-40B4-BE49-F238E27FC236}">
                      <a16:creationId xmlns:a16="http://schemas.microsoft.com/office/drawing/2014/main" id="{9A02B8AE-829E-DEEF-2104-DC8CE37C49E2}"/>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71" name="people_4" title="Icon of a person">
                  <a:extLst>
                    <a:ext uri="{FF2B5EF4-FFF2-40B4-BE49-F238E27FC236}">
                      <a16:creationId xmlns:a16="http://schemas.microsoft.com/office/drawing/2014/main" id="{9AECA8FA-EDA7-AA1D-797D-C7C2B53BD9AE}"/>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72" name="Straight Arrow Connector 71">
                  <a:extLst>
                    <a:ext uri="{FF2B5EF4-FFF2-40B4-BE49-F238E27FC236}">
                      <a16:creationId xmlns:a16="http://schemas.microsoft.com/office/drawing/2014/main" id="{751ACBB3-5485-507B-A02B-2D7C7F9A276C}"/>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73" name="Straight Arrow Connector 72">
                  <a:extLst>
                    <a:ext uri="{FF2B5EF4-FFF2-40B4-BE49-F238E27FC236}">
                      <a16:creationId xmlns:a16="http://schemas.microsoft.com/office/drawing/2014/main" id="{E7DBEE60-A0DC-7ED3-F219-A2F54836C42D}"/>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74" name="Straight Arrow Connector 73">
                  <a:extLst>
                    <a:ext uri="{FF2B5EF4-FFF2-40B4-BE49-F238E27FC236}">
                      <a16:creationId xmlns:a16="http://schemas.microsoft.com/office/drawing/2014/main" id="{6A1B1D1B-10C8-0A55-6BE3-8E72C0FB75F9}"/>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37" name="Group 36">
              <a:extLst>
                <a:ext uri="{FF2B5EF4-FFF2-40B4-BE49-F238E27FC236}">
                  <a16:creationId xmlns:a16="http://schemas.microsoft.com/office/drawing/2014/main" id="{0010951C-9AE4-1CD0-EF1F-D9C7DD5F09B6}"/>
                </a:ext>
              </a:extLst>
            </p:cNvPr>
            <p:cNvGrpSpPr/>
            <p:nvPr/>
          </p:nvGrpSpPr>
          <p:grpSpPr>
            <a:xfrm>
              <a:off x="6899197" y="3158325"/>
              <a:ext cx="747262" cy="747261"/>
              <a:chOff x="7448123" y="3596485"/>
              <a:chExt cx="747262" cy="747261"/>
            </a:xfrm>
          </p:grpSpPr>
          <p:sp>
            <p:nvSpPr>
              <p:cNvPr id="61" name="Oval 60">
                <a:extLst>
                  <a:ext uri="{FF2B5EF4-FFF2-40B4-BE49-F238E27FC236}">
                    <a16:creationId xmlns:a16="http://schemas.microsoft.com/office/drawing/2014/main" id="{64CDABA5-9A8A-AECD-87AB-8B6F28616B75}"/>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62" name="Group 61">
                <a:extLst>
                  <a:ext uri="{FF2B5EF4-FFF2-40B4-BE49-F238E27FC236}">
                    <a16:creationId xmlns:a16="http://schemas.microsoft.com/office/drawing/2014/main" id="{36DAD60C-448C-A655-5B72-B292B641D4F0}"/>
                  </a:ext>
                </a:extLst>
              </p:cNvPr>
              <p:cNvGrpSpPr/>
              <p:nvPr/>
            </p:nvGrpSpPr>
            <p:grpSpPr>
              <a:xfrm>
                <a:off x="7755705" y="3753497"/>
                <a:ext cx="132098" cy="433209"/>
                <a:chOff x="-850880" y="5496611"/>
                <a:chExt cx="112948" cy="370408"/>
              </a:xfrm>
            </p:grpSpPr>
            <p:sp>
              <p:nvSpPr>
                <p:cNvPr id="63" name="people_4" title="Icon of a person">
                  <a:extLst>
                    <a:ext uri="{FF2B5EF4-FFF2-40B4-BE49-F238E27FC236}">
                      <a16:creationId xmlns:a16="http://schemas.microsoft.com/office/drawing/2014/main" id="{CF381228-AF7C-A32A-12FA-833E84F84F12}"/>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64" name="Straight Arrow Connector 63">
                  <a:extLst>
                    <a:ext uri="{FF2B5EF4-FFF2-40B4-BE49-F238E27FC236}">
                      <a16:creationId xmlns:a16="http://schemas.microsoft.com/office/drawing/2014/main" id="{4308FDA5-5BE6-CE76-5EC2-8CFB58CADF31}"/>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65" name="Family_EBDA" title="Icon of a family of people">
                  <a:extLst>
                    <a:ext uri="{FF2B5EF4-FFF2-40B4-BE49-F238E27FC236}">
                      <a16:creationId xmlns:a16="http://schemas.microsoft.com/office/drawing/2014/main" id="{C71E5F58-B73E-4F73-8937-3F7D0388B57C}"/>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grpSp>
          <p:nvGrpSpPr>
            <p:cNvPr id="38" name="Group 37">
              <a:extLst>
                <a:ext uri="{FF2B5EF4-FFF2-40B4-BE49-F238E27FC236}">
                  <a16:creationId xmlns:a16="http://schemas.microsoft.com/office/drawing/2014/main" id="{DD18A46B-C06A-4465-C935-1101FAD99CC1}"/>
                </a:ext>
              </a:extLst>
            </p:cNvPr>
            <p:cNvGrpSpPr/>
            <p:nvPr/>
          </p:nvGrpSpPr>
          <p:grpSpPr>
            <a:xfrm>
              <a:off x="7369830" y="2353809"/>
              <a:ext cx="747262" cy="747261"/>
              <a:chOff x="8731867" y="3491874"/>
              <a:chExt cx="638932" cy="638931"/>
            </a:xfrm>
          </p:grpSpPr>
          <p:sp>
            <p:nvSpPr>
              <p:cNvPr id="48" name="Oval 47">
                <a:extLst>
                  <a:ext uri="{FF2B5EF4-FFF2-40B4-BE49-F238E27FC236}">
                    <a16:creationId xmlns:a16="http://schemas.microsoft.com/office/drawing/2014/main" id="{41A5CC5F-BD00-B27E-3DD2-42E097993488}"/>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49" name="Group 48">
                <a:extLst>
                  <a:ext uri="{FF2B5EF4-FFF2-40B4-BE49-F238E27FC236}">
                    <a16:creationId xmlns:a16="http://schemas.microsoft.com/office/drawing/2014/main" id="{A1452A7B-CF5B-F6FE-94DD-420C9B64B133}"/>
                  </a:ext>
                </a:extLst>
              </p:cNvPr>
              <p:cNvGrpSpPr/>
              <p:nvPr/>
            </p:nvGrpSpPr>
            <p:grpSpPr>
              <a:xfrm>
                <a:off x="8881190" y="3617987"/>
                <a:ext cx="340302" cy="386705"/>
                <a:chOff x="1325348" y="4418696"/>
                <a:chExt cx="728381" cy="827705"/>
              </a:xfrm>
            </p:grpSpPr>
            <p:sp>
              <p:nvSpPr>
                <p:cNvPr id="51" name="people_4" title="Icon of a person">
                  <a:extLst>
                    <a:ext uri="{FF2B5EF4-FFF2-40B4-BE49-F238E27FC236}">
                      <a16:creationId xmlns:a16="http://schemas.microsoft.com/office/drawing/2014/main" id="{483C6F05-CDBC-2BE7-9792-5E819AC2EB1D}"/>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52" name="people_4" title="Icon of a person">
                  <a:extLst>
                    <a:ext uri="{FF2B5EF4-FFF2-40B4-BE49-F238E27FC236}">
                      <a16:creationId xmlns:a16="http://schemas.microsoft.com/office/drawing/2014/main" id="{CE5040B8-2951-3DB7-D49B-A316AE6A5BA1}"/>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53" name="people_4" title="Icon of a person">
                  <a:extLst>
                    <a:ext uri="{FF2B5EF4-FFF2-40B4-BE49-F238E27FC236}">
                      <a16:creationId xmlns:a16="http://schemas.microsoft.com/office/drawing/2014/main" id="{6C27AC9F-9B88-BD9B-8240-9FE0FC10D91F}"/>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54" name="people_4" title="Icon of a person">
                  <a:extLst>
                    <a:ext uri="{FF2B5EF4-FFF2-40B4-BE49-F238E27FC236}">
                      <a16:creationId xmlns:a16="http://schemas.microsoft.com/office/drawing/2014/main" id="{5E2777FA-2A62-7F61-7A18-E555CA633912}"/>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56" name="Straight Arrow Connector 55">
                  <a:extLst>
                    <a:ext uri="{FF2B5EF4-FFF2-40B4-BE49-F238E27FC236}">
                      <a16:creationId xmlns:a16="http://schemas.microsoft.com/office/drawing/2014/main" id="{BA7C18E5-9D31-04E9-5918-DCA51C73A781}"/>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58" name="Straight Arrow Connector 57">
                  <a:extLst>
                    <a:ext uri="{FF2B5EF4-FFF2-40B4-BE49-F238E27FC236}">
                      <a16:creationId xmlns:a16="http://schemas.microsoft.com/office/drawing/2014/main" id="{8D236D83-B4A4-0487-5A09-08E4E14021F4}"/>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60" name="Straight Arrow Connector 59">
                  <a:extLst>
                    <a:ext uri="{FF2B5EF4-FFF2-40B4-BE49-F238E27FC236}">
                      <a16:creationId xmlns:a16="http://schemas.microsoft.com/office/drawing/2014/main" id="{BF32172F-C3C5-B1E3-A7DE-383BCEEFFF39}"/>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39" name="Group 38">
              <a:extLst>
                <a:ext uri="{FF2B5EF4-FFF2-40B4-BE49-F238E27FC236}">
                  <a16:creationId xmlns:a16="http://schemas.microsoft.com/office/drawing/2014/main" id="{95D1932F-3004-4E9D-C556-A3B00A4AF851}"/>
                </a:ext>
              </a:extLst>
            </p:cNvPr>
            <p:cNvGrpSpPr/>
            <p:nvPr/>
          </p:nvGrpSpPr>
          <p:grpSpPr>
            <a:xfrm>
              <a:off x="7840464" y="3158325"/>
              <a:ext cx="740382" cy="741937"/>
              <a:chOff x="8441897" y="3589608"/>
              <a:chExt cx="740382" cy="741937"/>
            </a:xfrm>
          </p:grpSpPr>
          <p:sp>
            <p:nvSpPr>
              <p:cNvPr id="40" name="Oval 39">
                <a:extLst>
                  <a:ext uri="{FF2B5EF4-FFF2-40B4-BE49-F238E27FC236}">
                    <a16:creationId xmlns:a16="http://schemas.microsoft.com/office/drawing/2014/main" id="{0B7CE936-DD3D-0D47-3E93-05CDDA22D2B1}"/>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41" name="people_4" title="Icon of a person">
                <a:extLst>
                  <a:ext uri="{FF2B5EF4-FFF2-40B4-BE49-F238E27FC236}">
                    <a16:creationId xmlns:a16="http://schemas.microsoft.com/office/drawing/2014/main" id="{8E772D40-E73B-B0E4-B05E-A6587D01FEB3}"/>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44" name="Straight Arrow Connector 43">
                <a:extLst>
                  <a:ext uri="{FF2B5EF4-FFF2-40B4-BE49-F238E27FC236}">
                    <a16:creationId xmlns:a16="http://schemas.microsoft.com/office/drawing/2014/main" id="{1AE57729-0F00-FD7C-FBFB-0F1AB9FE160E}"/>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45" name="Straight Arrow Connector 44">
                <a:extLst>
                  <a:ext uri="{FF2B5EF4-FFF2-40B4-BE49-F238E27FC236}">
                    <a16:creationId xmlns:a16="http://schemas.microsoft.com/office/drawing/2014/main" id="{44DA68F8-63F9-6F34-968C-E6D1076487EF}"/>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46" name="Family_EBDA" title="Icon of a family of people">
                <a:extLst>
                  <a:ext uri="{FF2B5EF4-FFF2-40B4-BE49-F238E27FC236}">
                    <a16:creationId xmlns:a16="http://schemas.microsoft.com/office/drawing/2014/main" id="{842369ED-512C-4CD6-19FC-26B2733D30EE}"/>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47" name="people_4" title="Icon of a person">
                <a:extLst>
                  <a:ext uri="{FF2B5EF4-FFF2-40B4-BE49-F238E27FC236}">
                    <a16:creationId xmlns:a16="http://schemas.microsoft.com/office/drawing/2014/main" id="{8591C0EE-26EF-DA21-6C93-A8C3AEC6863C}"/>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grpSp>
        <p:nvGrpSpPr>
          <p:cNvPr id="75" name="Group 74">
            <a:extLst>
              <a:ext uri="{FF2B5EF4-FFF2-40B4-BE49-F238E27FC236}">
                <a16:creationId xmlns:a16="http://schemas.microsoft.com/office/drawing/2014/main" id="{B3E4BB6A-BE79-CAF2-4BB0-2EBF54EE5B51}"/>
              </a:ext>
            </a:extLst>
          </p:cNvPr>
          <p:cNvGrpSpPr/>
          <p:nvPr/>
        </p:nvGrpSpPr>
        <p:grpSpPr>
          <a:xfrm>
            <a:off x="4520723" y="2637890"/>
            <a:ext cx="3064275" cy="1810232"/>
            <a:chOff x="4521422" y="2559260"/>
            <a:chExt cx="3064275" cy="1810232"/>
          </a:xfrm>
        </p:grpSpPr>
        <p:grpSp>
          <p:nvGrpSpPr>
            <p:cNvPr id="76" name="Group 75">
              <a:extLst>
                <a:ext uri="{FF2B5EF4-FFF2-40B4-BE49-F238E27FC236}">
                  <a16:creationId xmlns:a16="http://schemas.microsoft.com/office/drawing/2014/main" id="{FC2B2A59-C11F-2BD7-A7B7-7B20E9E8AE28}"/>
                </a:ext>
              </a:extLst>
            </p:cNvPr>
            <p:cNvGrpSpPr/>
            <p:nvPr/>
          </p:nvGrpSpPr>
          <p:grpSpPr>
            <a:xfrm>
              <a:off x="5724779" y="2564289"/>
              <a:ext cx="675059" cy="675058"/>
              <a:chOff x="5436393" y="3187146"/>
              <a:chExt cx="747262" cy="747261"/>
            </a:xfrm>
          </p:grpSpPr>
          <p:sp>
            <p:nvSpPr>
              <p:cNvPr id="119" name="Oval 118">
                <a:extLst>
                  <a:ext uri="{FF2B5EF4-FFF2-40B4-BE49-F238E27FC236}">
                    <a16:creationId xmlns:a16="http://schemas.microsoft.com/office/drawing/2014/main" id="{272D0355-50CA-3D94-979C-2C1A6E75A011}"/>
                  </a:ext>
                </a:extLst>
              </p:cNvPr>
              <p:cNvSpPr/>
              <p:nvPr/>
            </p:nvSpPr>
            <p:spPr>
              <a:xfrm>
                <a:off x="5436393" y="3187146"/>
                <a:ext cx="747262" cy="747261"/>
              </a:xfrm>
              <a:prstGeom prst="ellipse">
                <a:avLst/>
              </a:prstGeom>
              <a:solidFill>
                <a:srgbClr val="49C4B0"/>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0" name="girl" title="Icon of a young woman">
                <a:extLst>
                  <a:ext uri="{FF2B5EF4-FFF2-40B4-BE49-F238E27FC236}">
                    <a16:creationId xmlns:a16="http://schemas.microsoft.com/office/drawing/2014/main" id="{7AE3E237-05E9-DBC4-A374-88F3398C0A06}"/>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77" name="Group 76">
              <a:extLst>
                <a:ext uri="{FF2B5EF4-FFF2-40B4-BE49-F238E27FC236}">
                  <a16:creationId xmlns:a16="http://schemas.microsoft.com/office/drawing/2014/main" id="{34BFC93A-5B39-DE43-5FA4-01B0227B40E8}"/>
                </a:ext>
              </a:extLst>
            </p:cNvPr>
            <p:cNvGrpSpPr/>
            <p:nvPr/>
          </p:nvGrpSpPr>
          <p:grpSpPr>
            <a:xfrm>
              <a:off x="6543280" y="3308252"/>
              <a:ext cx="675059" cy="675058"/>
              <a:chOff x="6647882" y="3209499"/>
              <a:chExt cx="747262" cy="747261"/>
            </a:xfrm>
          </p:grpSpPr>
          <p:sp>
            <p:nvSpPr>
              <p:cNvPr id="117" name="Oval 116">
                <a:extLst>
                  <a:ext uri="{FF2B5EF4-FFF2-40B4-BE49-F238E27FC236}">
                    <a16:creationId xmlns:a16="http://schemas.microsoft.com/office/drawing/2014/main" id="{17F19F90-5104-370B-0C8C-7EA8592B3936}"/>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18" name="people_4" title="Icon of a person">
                <a:extLst>
                  <a:ext uri="{FF2B5EF4-FFF2-40B4-BE49-F238E27FC236}">
                    <a16:creationId xmlns:a16="http://schemas.microsoft.com/office/drawing/2014/main" id="{91829642-AEC5-CF29-DFCB-FB33B45DAAA5}"/>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nvGrpSpPr>
            <p:cNvPr id="78" name="Group 77">
              <a:extLst>
                <a:ext uri="{FF2B5EF4-FFF2-40B4-BE49-F238E27FC236}">
                  <a16:creationId xmlns:a16="http://schemas.microsoft.com/office/drawing/2014/main" id="{7179ECC8-56D6-1145-7092-30C9E6785E54}"/>
                </a:ext>
              </a:extLst>
            </p:cNvPr>
            <p:cNvGrpSpPr/>
            <p:nvPr/>
          </p:nvGrpSpPr>
          <p:grpSpPr>
            <a:xfrm>
              <a:off x="6910638" y="2564289"/>
              <a:ext cx="675059" cy="675058"/>
              <a:chOff x="4878965" y="3908890"/>
              <a:chExt cx="747262" cy="747261"/>
            </a:xfrm>
          </p:grpSpPr>
          <p:sp>
            <p:nvSpPr>
              <p:cNvPr id="115" name="Oval 114">
                <a:extLst>
                  <a:ext uri="{FF2B5EF4-FFF2-40B4-BE49-F238E27FC236}">
                    <a16:creationId xmlns:a16="http://schemas.microsoft.com/office/drawing/2014/main" id="{D0500E31-B134-3F37-1806-5D6843F28280}"/>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16" name="people_12" title="Icon of three people">
                <a:extLst>
                  <a:ext uri="{FF2B5EF4-FFF2-40B4-BE49-F238E27FC236}">
                    <a16:creationId xmlns:a16="http://schemas.microsoft.com/office/drawing/2014/main" id="{681DE697-1D72-F8CB-9C38-62F767C3085A}"/>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cxnSp>
          <p:nvCxnSpPr>
            <p:cNvPr id="79" name="Straight Arrow Connector 78">
              <a:extLst>
                <a:ext uri="{FF2B5EF4-FFF2-40B4-BE49-F238E27FC236}">
                  <a16:creationId xmlns:a16="http://schemas.microsoft.com/office/drawing/2014/main" id="{3A4715C0-47E5-5ACB-D715-F1E89E3DE422}"/>
                </a:ext>
              </a:extLst>
            </p:cNvPr>
            <p:cNvCxnSpPr>
              <a:cxnSpLocks/>
              <a:stCxn id="119" idx="6"/>
              <a:endCxn id="115" idx="2"/>
            </p:cNvCxnSpPr>
            <p:nvPr/>
          </p:nvCxnSpPr>
          <p:spPr>
            <a:xfrm>
              <a:off x="6399838" y="2901818"/>
              <a:ext cx="510800" cy="0"/>
            </a:xfrm>
            <a:prstGeom prst="straightConnector1">
              <a:avLst/>
            </a:prstGeom>
            <a:noFill/>
            <a:ln w="19050" cap="flat" cmpd="sng" algn="ctr">
              <a:solidFill>
                <a:srgbClr val="49C4B0"/>
              </a:solidFill>
              <a:prstDash val="solid"/>
              <a:miter lim="800000"/>
              <a:tailEnd type="triangle"/>
            </a:ln>
            <a:effectLst/>
          </p:spPr>
        </p:cxnSp>
        <p:cxnSp>
          <p:nvCxnSpPr>
            <p:cNvPr id="80" name="Straight Arrow Connector 79">
              <a:extLst>
                <a:ext uri="{FF2B5EF4-FFF2-40B4-BE49-F238E27FC236}">
                  <a16:creationId xmlns:a16="http://schemas.microsoft.com/office/drawing/2014/main" id="{ABAEB0B4-110E-B3C5-8F71-0D53D8E17EAE}"/>
                </a:ext>
              </a:extLst>
            </p:cNvPr>
            <p:cNvCxnSpPr>
              <a:cxnSpLocks/>
              <a:stCxn id="119" idx="2"/>
              <a:endCxn id="106" idx="6"/>
            </p:cNvCxnSpPr>
            <p:nvPr/>
          </p:nvCxnSpPr>
          <p:spPr>
            <a:xfrm flipH="1" flipV="1">
              <a:off x="5196481" y="2896789"/>
              <a:ext cx="528298" cy="5029"/>
            </a:xfrm>
            <a:prstGeom prst="straightConnector1">
              <a:avLst/>
            </a:prstGeom>
            <a:noFill/>
            <a:ln w="19050" cap="flat" cmpd="sng" algn="ctr">
              <a:solidFill>
                <a:srgbClr val="49C4B0"/>
              </a:solidFill>
              <a:prstDash val="solid"/>
              <a:miter lim="800000"/>
              <a:tailEnd type="triangle"/>
            </a:ln>
            <a:effectLst/>
          </p:spPr>
        </p:cxnSp>
        <p:cxnSp>
          <p:nvCxnSpPr>
            <p:cNvPr id="81" name="Straight Arrow Connector 80">
              <a:extLst>
                <a:ext uri="{FF2B5EF4-FFF2-40B4-BE49-F238E27FC236}">
                  <a16:creationId xmlns:a16="http://schemas.microsoft.com/office/drawing/2014/main" id="{8DE8CF57-FCE8-9045-09D8-6B35DBF2AC80}"/>
                </a:ext>
              </a:extLst>
            </p:cNvPr>
            <p:cNvCxnSpPr>
              <a:cxnSpLocks/>
              <a:stCxn id="119" idx="5"/>
            </p:cNvCxnSpPr>
            <p:nvPr/>
          </p:nvCxnSpPr>
          <p:spPr>
            <a:xfrm>
              <a:off x="6300978" y="3140487"/>
              <a:ext cx="313743" cy="275768"/>
            </a:xfrm>
            <a:prstGeom prst="straightConnector1">
              <a:avLst/>
            </a:prstGeom>
            <a:noFill/>
            <a:ln w="19050" cap="flat" cmpd="sng" algn="ctr">
              <a:solidFill>
                <a:srgbClr val="49C4B0"/>
              </a:solidFill>
              <a:prstDash val="solid"/>
              <a:miter lim="800000"/>
              <a:tailEnd type="triangle"/>
            </a:ln>
            <a:effectLst/>
          </p:spPr>
        </p:cxnSp>
        <p:grpSp>
          <p:nvGrpSpPr>
            <p:cNvPr id="82" name="Group 81">
              <a:extLst>
                <a:ext uri="{FF2B5EF4-FFF2-40B4-BE49-F238E27FC236}">
                  <a16:creationId xmlns:a16="http://schemas.microsoft.com/office/drawing/2014/main" id="{F710D3EE-4E4C-86D6-DDA8-311A3307A422}"/>
                </a:ext>
              </a:extLst>
            </p:cNvPr>
            <p:cNvGrpSpPr/>
            <p:nvPr/>
          </p:nvGrpSpPr>
          <p:grpSpPr>
            <a:xfrm>
              <a:off x="4521422" y="2559260"/>
              <a:ext cx="675059" cy="675058"/>
              <a:chOff x="8731867" y="3491874"/>
              <a:chExt cx="638932" cy="638931"/>
            </a:xfrm>
          </p:grpSpPr>
          <p:sp>
            <p:nvSpPr>
              <p:cNvPr id="106" name="Oval 105">
                <a:extLst>
                  <a:ext uri="{FF2B5EF4-FFF2-40B4-BE49-F238E27FC236}">
                    <a16:creationId xmlns:a16="http://schemas.microsoft.com/office/drawing/2014/main" id="{9E44F6CD-4414-3E48-20D9-F0C8E1D0ADF9}"/>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107" name="Group 106">
                <a:extLst>
                  <a:ext uri="{FF2B5EF4-FFF2-40B4-BE49-F238E27FC236}">
                    <a16:creationId xmlns:a16="http://schemas.microsoft.com/office/drawing/2014/main" id="{3B98B58B-81EF-92EF-FCCA-9F83E0221B05}"/>
                  </a:ext>
                </a:extLst>
              </p:cNvPr>
              <p:cNvGrpSpPr/>
              <p:nvPr/>
            </p:nvGrpSpPr>
            <p:grpSpPr>
              <a:xfrm>
                <a:off x="8881191" y="3617987"/>
                <a:ext cx="340302" cy="386705"/>
                <a:chOff x="1325348" y="4418696"/>
                <a:chExt cx="728381" cy="827705"/>
              </a:xfrm>
            </p:grpSpPr>
            <p:sp>
              <p:nvSpPr>
                <p:cNvPr id="108" name="people_4" title="Icon of a person">
                  <a:extLst>
                    <a:ext uri="{FF2B5EF4-FFF2-40B4-BE49-F238E27FC236}">
                      <a16:creationId xmlns:a16="http://schemas.microsoft.com/office/drawing/2014/main" id="{8938D08F-8FE8-29DC-4245-0650AE51F585}"/>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09" name="people_4" title="Icon of a person">
                  <a:extLst>
                    <a:ext uri="{FF2B5EF4-FFF2-40B4-BE49-F238E27FC236}">
                      <a16:creationId xmlns:a16="http://schemas.microsoft.com/office/drawing/2014/main" id="{1BB6C85F-A3ED-5BB3-D707-BFFD078314D3}"/>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10" name="people_4" title="Icon of a person">
                  <a:extLst>
                    <a:ext uri="{FF2B5EF4-FFF2-40B4-BE49-F238E27FC236}">
                      <a16:creationId xmlns:a16="http://schemas.microsoft.com/office/drawing/2014/main" id="{452340C8-4F36-9527-300A-64D887DF532D}"/>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11" name="people_4" title="Icon of a person">
                  <a:extLst>
                    <a:ext uri="{FF2B5EF4-FFF2-40B4-BE49-F238E27FC236}">
                      <a16:creationId xmlns:a16="http://schemas.microsoft.com/office/drawing/2014/main" id="{2C4615AA-74A9-53CB-2AF0-F8CC30E53EB9}"/>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112" name="Straight Arrow Connector 111">
                  <a:extLst>
                    <a:ext uri="{FF2B5EF4-FFF2-40B4-BE49-F238E27FC236}">
                      <a16:creationId xmlns:a16="http://schemas.microsoft.com/office/drawing/2014/main" id="{BF66C4BD-C884-CA3D-DECE-D930FA122F34}"/>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113" name="Straight Arrow Connector 112">
                  <a:extLst>
                    <a:ext uri="{FF2B5EF4-FFF2-40B4-BE49-F238E27FC236}">
                      <a16:creationId xmlns:a16="http://schemas.microsoft.com/office/drawing/2014/main" id="{76E9186F-E7B5-8F56-AC75-DE32BF1782BE}"/>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114" name="Straight Arrow Connector 113">
                  <a:extLst>
                    <a:ext uri="{FF2B5EF4-FFF2-40B4-BE49-F238E27FC236}">
                      <a16:creationId xmlns:a16="http://schemas.microsoft.com/office/drawing/2014/main" id="{EAD38D13-5BA8-AF3C-C2A1-FA76B380D097}"/>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83" name="Group 82">
              <a:extLst>
                <a:ext uri="{FF2B5EF4-FFF2-40B4-BE49-F238E27FC236}">
                  <a16:creationId xmlns:a16="http://schemas.microsoft.com/office/drawing/2014/main" id="{1FAC29CD-4918-33D2-8ACF-2B30D29414E1}"/>
                </a:ext>
              </a:extLst>
            </p:cNvPr>
            <p:cNvGrpSpPr/>
            <p:nvPr/>
          </p:nvGrpSpPr>
          <p:grpSpPr>
            <a:xfrm>
              <a:off x="4902218" y="3307421"/>
              <a:ext cx="675059" cy="675058"/>
              <a:chOff x="7448123" y="3596485"/>
              <a:chExt cx="747262" cy="747261"/>
            </a:xfrm>
          </p:grpSpPr>
          <p:sp>
            <p:nvSpPr>
              <p:cNvPr id="101" name="Oval 100">
                <a:extLst>
                  <a:ext uri="{FF2B5EF4-FFF2-40B4-BE49-F238E27FC236}">
                    <a16:creationId xmlns:a16="http://schemas.microsoft.com/office/drawing/2014/main" id="{5DA9F74C-559F-6D55-F810-84B4BCD69FD5}"/>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grpSp>
            <p:nvGrpSpPr>
              <p:cNvPr id="102" name="Group 101">
                <a:extLst>
                  <a:ext uri="{FF2B5EF4-FFF2-40B4-BE49-F238E27FC236}">
                    <a16:creationId xmlns:a16="http://schemas.microsoft.com/office/drawing/2014/main" id="{ADD96BEC-078A-7B1F-A172-159B87D31B66}"/>
                  </a:ext>
                </a:extLst>
              </p:cNvPr>
              <p:cNvGrpSpPr/>
              <p:nvPr/>
            </p:nvGrpSpPr>
            <p:grpSpPr>
              <a:xfrm>
                <a:off x="7755705" y="3753497"/>
                <a:ext cx="132098" cy="433209"/>
                <a:chOff x="-850880" y="5496611"/>
                <a:chExt cx="112948" cy="370408"/>
              </a:xfrm>
            </p:grpSpPr>
            <p:sp>
              <p:nvSpPr>
                <p:cNvPr id="103" name="people_4" title="Icon of a person">
                  <a:extLst>
                    <a:ext uri="{FF2B5EF4-FFF2-40B4-BE49-F238E27FC236}">
                      <a16:creationId xmlns:a16="http://schemas.microsoft.com/office/drawing/2014/main" id="{3F3A6947-4445-3564-2D1B-B3EB02733D06}"/>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104" name="Straight Arrow Connector 103">
                  <a:extLst>
                    <a:ext uri="{FF2B5EF4-FFF2-40B4-BE49-F238E27FC236}">
                      <a16:creationId xmlns:a16="http://schemas.microsoft.com/office/drawing/2014/main" id="{9ABA985B-1FE9-9821-8427-DB9198086BE7}"/>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105" name="Family_EBDA" title="Icon of a family of people">
                  <a:extLst>
                    <a:ext uri="{FF2B5EF4-FFF2-40B4-BE49-F238E27FC236}">
                      <a16:creationId xmlns:a16="http://schemas.microsoft.com/office/drawing/2014/main" id="{712CD8CA-70F8-FF2F-2784-C3F46329330B}"/>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grpSp>
        <p:grpSp>
          <p:nvGrpSpPr>
            <p:cNvPr id="84" name="Group 83">
              <a:extLst>
                <a:ext uri="{FF2B5EF4-FFF2-40B4-BE49-F238E27FC236}">
                  <a16:creationId xmlns:a16="http://schemas.microsoft.com/office/drawing/2014/main" id="{4ABB51C3-2C62-D6A8-0712-DA62E215FCD8}"/>
                </a:ext>
              </a:extLst>
            </p:cNvPr>
            <p:cNvGrpSpPr/>
            <p:nvPr/>
          </p:nvGrpSpPr>
          <p:grpSpPr>
            <a:xfrm>
              <a:off x="5727886" y="3699243"/>
              <a:ext cx="668844" cy="670249"/>
              <a:chOff x="8441897" y="3589608"/>
              <a:chExt cx="740382" cy="741937"/>
            </a:xfrm>
          </p:grpSpPr>
          <p:sp>
            <p:nvSpPr>
              <p:cNvPr id="94" name="Oval 93">
                <a:extLst>
                  <a:ext uri="{FF2B5EF4-FFF2-40B4-BE49-F238E27FC236}">
                    <a16:creationId xmlns:a16="http://schemas.microsoft.com/office/drawing/2014/main" id="{FDB3BB5E-7765-332F-515A-B06F915F1AF1}"/>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96" name="people_4" title="Icon of a person">
                <a:extLst>
                  <a:ext uri="{FF2B5EF4-FFF2-40B4-BE49-F238E27FC236}">
                    <a16:creationId xmlns:a16="http://schemas.microsoft.com/office/drawing/2014/main" id="{84662683-604A-3040-74EC-4021DBA70C31}"/>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cxnSp>
            <p:nvCxnSpPr>
              <p:cNvPr id="97" name="Straight Arrow Connector 96">
                <a:extLst>
                  <a:ext uri="{FF2B5EF4-FFF2-40B4-BE49-F238E27FC236}">
                    <a16:creationId xmlns:a16="http://schemas.microsoft.com/office/drawing/2014/main" id="{281DE44C-0AFB-8590-A3C4-C8149B8A0ED6}"/>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98" name="Straight Arrow Connector 97">
                <a:extLst>
                  <a:ext uri="{FF2B5EF4-FFF2-40B4-BE49-F238E27FC236}">
                    <a16:creationId xmlns:a16="http://schemas.microsoft.com/office/drawing/2014/main" id="{AD24F183-FE70-B913-BC16-2D3CD9666DAE}"/>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99" name="Family_EBDA" title="Icon of a family of people">
                <a:extLst>
                  <a:ext uri="{FF2B5EF4-FFF2-40B4-BE49-F238E27FC236}">
                    <a16:creationId xmlns:a16="http://schemas.microsoft.com/office/drawing/2014/main" id="{80BAAE41-51A0-224F-CE89-017263466303}"/>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sp>
            <p:nvSpPr>
              <p:cNvPr id="100" name="people_4" title="Icon of a person">
                <a:extLst>
                  <a:ext uri="{FF2B5EF4-FFF2-40B4-BE49-F238E27FC236}">
                    <a16:creationId xmlns:a16="http://schemas.microsoft.com/office/drawing/2014/main" id="{DDED264B-3458-6951-E50F-C0167D4CA054}"/>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1C1C"/>
                  </a:solidFill>
                  <a:effectLst/>
                  <a:uLnTx/>
                  <a:uFillTx/>
                  <a:latin typeface="Segoe Sans Text" panose="020F0502020204030204"/>
                  <a:ea typeface="+mn-ea"/>
                  <a:cs typeface="+mn-cs"/>
                </a:endParaRPr>
              </a:p>
            </p:txBody>
          </p:sp>
        </p:grpSp>
        <p:cxnSp>
          <p:nvCxnSpPr>
            <p:cNvPr id="85" name="Straight Arrow Connector 84">
              <a:extLst>
                <a:ext uri="{FF2B5EF4-FFF2-40B4-BE49-F238E27FC236}">
                  <a16:creationId xmlns:a16="http://schemas.microsoft.com/office/drawing/2014/main" id="{E0B84542-1314-E1D3-C731-7E04657D3DD7}"/>
                </a:ext>
              </a:extLst>
            </p:cNvPr>
            <p:cNvCxnSpPr>
              <a:cxnSpLocks/>
            </p:cNvCxnSpPr>
            <p:nvPr/>
          </p:nvCxnSpPr>
          <p:spPr>
            <a:xfrm flipH="1">
              <a:off x="6055114" y="3239347"/>
              <a:ext cx="0" cy="459896"/>
            </a:xfrm>
            <a:prstGeom prst="straightConnector1">
              <a:avLst/>
            </a:prstGeom>
            <a:noFill/>
            <a:ln w="19050" cap="flat" cmpd="sng" algn="ctr">
              <a:solidFill>
                <a:srgbClr val="49C4B0"/>
              </a:solidFill>
              <a:prstDash val="solid"/>
              <a:miter lim="800000"/>
              <a:tailEnd type="triangle"/>
            </a:ln>
            <a:effectLst/>
          </p:spPr>
        </p:cxnSp>
        <p:cxnSp>
          <p:nvCxnSpPr>
            <p:cNvPr id="93" name="Straight Arrow Connector 92">
              <a:extLst>
                <a:ext uri="{FF2B5EF4-FFF2-40B4-BE49-F238E27FC236}">
                  <a16:creationId xmlns:a16="http://schemas.microsoft.com/office/drawing/2014/main" id="{18EFDEAB-9EE3-2240-F7B4-B2D4ACCCC01E}"/>
                </a:ext>
              </a:extLst>
            </p:cNvPr>
            <p:cNvCxnSpPr>
              <a:cxnSpLocks/>
            </p:cNvCxnSpPr>
            <p:nvPr/>
          </p:nvCxnSpPr>
          <p:spPr>
            <a:xfrm flipH="1">
              <a:off x="5492179" y="3130465"/>
              <a:ext cx="313743" cy="275768"/>
            </a:xfrm>
            <a:prstGeom prst="straightConnector1">
              <a:avLst/>
            </a:prstGeom>
            <a:noFill/>
            <a:ln w="19050" cap="flat" cmpd="sng" algn="ctr">
              <a:solidFill>
                <a:srgbClr val="49C4B0"/>
              </a:solidFill>
              <a:prstDash val="solid"/>
              <a:miter lim="800000"/>
              <a:tailEnd type="triangle"/>
            </a:ln>
            <a:effectLst/>
          </p:spPr>
        </p:cxnSp>
      </p:grpSp>
      <p:grpSp>
        <p:nvGrpSpPr>
          <p:cNvPr id="121" name="Group 120">
            <a:extLst>
              <a:ext uri="{FF2B5EF4-FFF2-40B4-BE49-F238E27FC236}">
                <a16:creationId xmlns:a16="http://schemas.microsoft.com/office/drawing/2014/main" id="{5B09A7C8-3A93-A3A5-83DC-E5088309912B}"/>
              </a:ext>
            </a:extLst>
          </p:cNvPr>
          <p:cNvGrpSpPr/>
          <p:nvPr/>
        </p:nvGrpSpPr>
        <p:grpSpPr>
          <a:xfrm>
            <a:off x="813340" y="4908268"/>
            <a:ext cx="3404660" cy="939839"/>
            <a:chOff x="2468869" y="4561279"/>
            <a:chExt cx="3404660" cy="939839"/>
          </a:xfrm>
        </p:grpSpPr>
        <p:sp>
          <p:nvSpPr>
            <p:cNvPr id="122" name="Rounded Rectangle 82">
              <a:extLst>
                <a:ext uri="{FF2B5EF4-FFF2-40B4-BE49-F238E27FC236}">
                  <a16:creationId xmlns:a16="http://schemas.microsoft.com/office/drawing/2014/main" id="{FB280E70-A640-F1E9-CB7D-05268D4B2D4C}"/>
                </a:ext>
              </a:extLst>
            </p:cNvPr>
            <p:cNvSpPr/>
            <p:nvPr/>
          </p:nvSpPr>
          <p:spPr>
            <a:xfrm rot="10800000">
              <a:off x="2468869" y="4561279"/>
              <a:ext cx="3404660"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3" name="TextBox 122">
              <a:extLst>
                <a:ext uri="{FF2B5EF4-FFF2-40B4-BE49-F238E27FC236}">
                  <a16:creationId xmlns:a16="http://schemas.microsoft.com/office/drawing/2014/main" id="{CC2F0D53-E50A-FC64-81CA-F232FC345C9E}"/>
                </a:ext>
              </a:extLst>
            </p:cNvPr>
            <p:cNvSpPr txBox="1"/>
            <p:nvPr/>
          </p:nvSpPr>
          <p:spPr>
            <a:xfrm>
              <a:off x="2511791" y="4710186"/>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dirty="0">
                  <a:ln>
                    <a:noFill/>
                  </a:ln>
                  <a:solidFill>
                    <a:srgbClr val="FF0000"/>
                  </a:solidFill>
                  <a:effectLst/>
                  <a:uLnTx/>
                  <a:uFillTx/>
                  <a:latin typeface="Segoe Sans Text" panose="020F0502020204030204"/>
                  <a:ea typeface="+mn-ea"/>
                  <a:cs typeface="Segoe Sans Display Semibold" pitchFamily="2" charset="0"/>
                </a:rPr>
                <a:t>Agility at the Edge</a:t>
              </a:r>
            </a:p>
          </p:txBody>
        </p:sp>
      </p:grpSp>
      <p:grpSp>
        <p:nvGrpSpPr>
          <p:cNvPr id="124" name="Group 123">
            <a:extLst>
              <a:ext uri="{FF2B5EF4-FFF2-40B4-BE49-F238E27FC236}">
                <a16:creationId xmlns:a16="http://schemas.microsoft.com/office/drawing/2014/main" id="{7D83B3AB-61F7-EADF-E6E9-882CE471440F}"/>
              </a:ext>
            </a:extLst>
          </p:cNvPr>
          <p:cNvGrpSpPr/>
          <p:nvPr/>
        </p:nvGrpSpPr>
        <p:grpSpPr>
          <a:xfrm>
            <a:off x="8091131" y="4908268"/>
            <a:ext cx="3341196" cy="939839"/>
            <a:chOff x="6511715" y="4539578"/>
            <a:chExt cx="3341196" cy="939839"/>
          </a:xfrm>
        </p:grpSpPr>
        <p:sp>
          <p:nvSpPr>
            <p:cNvPr id="125" name="Rounded Rectangle 87">
              <a:extLst>
                <a:ext uri="{FF2B5EF4-FFF2-40B4-BE49-F238E27FC236}">
                  <a16:creationId xmlns:a16="http://schemas.microsoft.com/office/drawing/2014/main" id="{2E66C605-E0E0-BA73-3CF4-D24796D18B96}"/>
                </a:ext>
              </a:extLst>
            </p:cNvPr>
            <p:cNvSpPr/>
            <p:nvPr/>
          </p:nvSpPr>
          <p:spPr>
            <a:xfrm rot="10800000">
              <a:off x="6511715" y="4539578"/>
              <a:ext cx="3303493"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6" name="TextBox 125">
              <a:extLst>
                <a:ext uri="{FF2B5EF4-FFF2-40B4-BE49-F238E27FC236}">
                  <a16:creationId xmlns:a16="http://schemas.microsoft.com/office/drawing/2014/main" id="{086C415C-EB11-4A4C-C4D4-660ED7BD947B}"/>
                </a:ext>
              </a:extLst>
            </p:cNvPr>
            <p:cNvSpPr txBox="1"/>
            <p:nvPr/>
          </p:nvSpPr>
          <p:spPr>
            <a:xfrm>
              <a:off x="6549417" y="4688485"/>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dirty="0">
                  <a:ln>
                    <a:noFill/>
                  </a:ln>
                  <a:solidFill>
                    <a:srgbClr val="FF0000"/>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Agility at the Edge</a:t>
              </a:r>
            </a:p>
          </p:txBody>
        </p:sp>
      </p:grpSp>
      <p:grpSp>
        <p:nvGrpSpPr>
          <p:cNvPr id="127" name="Group 126">
            <a:extLst>
              <a:ext uri="{FF2B5EF4-FFF2-40B4-BE49-F238E27FC236}">
                <a16:creationId xmlns:a16="http://schemas.microsoft.com/office/drawing/2014/main" id="{FA15071B-1C97-7CD9-8492-1B2DC7BD8DD2}"/>
              </a:ext>
            </a:extLst>
          </p:cNvPr>
          <p:cNvGrpSpPr/>
          <p:nvPr/>
        </p:nvGrpSpPr>
        <p:grpSpPr>
          <a:xfrm>
            <a:off x="4399691" y="4916999"/>
            <a:ext cx="3478664" cy="939839"/>
            <a:chOff x="4347078" y="4561281"/>
            <a:chExt cx="3389337" cy="939839"/>
          </a:xfrm>
        </p:grpSpPr>
        <p:sp>
          <p:nvSpPr>
            <p:cNvPr id="128" name="Rounded Rectangle 51">
              <a:extLst>
                <a:ext uri="{FF2B5EF4-FFF2-40B4-BE49-F238E27FC236}">
                  <a16:creationId xmlns:a16="http://schemas.microsoft.com/office/drawing/2014/main" id="{8D1ECDE8-151A-1412-F9AB-8278A779B23A}"/>
                </a:ext>
              </a:extLst>
            </p:cNvPr>
            <p:cNvSpPr/>
            <p:nvPr/>
          </p:nvSpPr>
          <p:spPr>
            <a:xfrm rot="10800000">
              <a:off x="4347078" y="4561281"/>
              <a:ext cx="3389337" cy="939839"/>
            </a:xfrm>
            <a:prstGeom prst="roundRect">
              <a:avLst>
                <a:gd name="adj" fmla="val 17499"/>
              </a:avLst>
            </a:prstGeom>
            <a:solidFill>
              <a:srgbClr val="FFFFFF"/>
            </a:solidFill>
            <a:ln w="50800" cap="rnd" cmpd="sng" algn="ctr">
              <a:solidFill>
                <a:srgbClr val="0078D4"/>
              </a:solid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Sans Text" panose="020F0502020204030204"/>
                <a:ea typeface="+mn-ea"/>
                <a:cs typeface="+mn-cs"/>
              </a:endParaRPr>
            </a:p>
          </p:txBody>
        </p:sp>
        <p:sp>
          <p:nvSpPr>
            <p:cNvPr id="129" name="TextBox 128">
              <a:extLst>
                <a:ext uri="{FF2B5EF4-FFF2-40B4-BE49-F238E27FC236}">
                  <a16:creationId xmlns:a16="http://schemas.microsoft.com/office/drawing/2014/main" id="{8EA343AF-E398-BD0E-33E6-5F9F6D06D0CA}"/>
                </a:ext>
              </a:extLst>
            </p:cNvPr>
            <p:cNvSpPr txBox="1"/>
            <p:nvPr/>
          </p:nvSpPr>
          <p:spPr>
            <a:xfrm>
              <a:off x="4432921" y="4721883"/>
              <a:ext cx="3303494" cy="62324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rgbClr val="0078D4"/>
                  </a:solidFill>
                  <a:effectLst/>
                  <a:uLnTx/>
                  <a:uFillTx/>
                  <a:latin typeface="Segoe Sans Text" panose="020F0502020204030204"/>
                  <a:ea typeface="+mn-ea"/>
                  <a:cs typeface="Segoe Sans Display Semibold" pitchFamily="2" charset="0"/>
                </a:rPr>
                <a:t>Agility at the Edge</a:t>
              </a:r>
            </a:p>
          </p:txBody>
        </p:sp>
      </p:grpSp>
      <p:sp>
        <p:nvSpPr>
          <p:cNvPr id="157" name="TextBox 156">
            <a:hlinkClick r:id="rId3"/>
            <a:extLst>
              <a:ext uri="{FF2B5EF4-FFF2-40B4-BE49-F238E27FC236}">
                <a16:creationId xmlns:a16="http://schemas.microsoft.com/office/drawing/2014/main" id="{66E82840-F8F1-C1B2-1937-1CDFF7F10698}"/>
              </a:ext>
            </a:extLst>
          </p:cNvPr>
          <p:cNvSpPr txBox="1"/>
          <p:nvPr/>
        </p:nvSpPr>
        <p:spPr>
          <a:xfrm>
            <a:off x="588263" y="6503494"/>
            <a:ext cx="3600516" cy="123111"/>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Sans Display" panose="020F0302020204030204"/>
                <a:ea typeface="+mn-ea"/>
                <a:cs typeface="+mn-cs"/>
                <a:hlinkClick r:id="rId3">
                  <a:extLst>
                    <a:ext uri="{A12FA001-AC4F-418D-AE19-62706E023703}">
                      <ahyp:hlinkClr xmlns:ahyp="http://schemas.microsoft.com/office/drawing/2018/hyperlinkcolor" val="tx"/>
                    </a:ext>
                  </a:extLst>
                </a:hlinkClick>
              </a:rPr>
              <a:t>Source : Forrester Research. Map a path to Federated Data Governance </a:t>
            </a:r>
            <a:endParaRPr kumimoji="0" lang="en-US" sz="800" b="0" i="0" u="none" strike="noStrike" kern="1200" cap="none" spc="0" normalizeH="0" baseline="0" noProof="0" dirty="0">
              <a:ln>
                <a:noFill/>
              </a:ln>
              <a:solidFill>
                <a:srgbClr val="0078D4"/>
              </a:solidFill>
              <a:effectLst/>
              <a:uLnTx/>
              <a:uFillTx/>
              <a:latin typeface="Segoe Sans Display" panose="020F0302020204030204"/>
              <a:ea typeface="+mn-ea"/>
              <a:cs typeface="+mn-cs"/>
            </a:endParaRPr>
          </a:p>
        </p:txBody>
      </p:sp>
    </p:spTree>
    <p:extLst>
      <p:ext uri="{BB962C8B-B14F-4D97-AF65-F5344CB8AC3E}">
        <p14:creationId xmlns:p14="http://schemas.microsoft.com/office/powerpoint/2010/main" val="4252725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50"/>
                                        <p:tgtEl>
                                          <p:spTgt spid="15"/>
                                        </p:tgtEl>
                                      </p:cBhvr>
                                    </p:animEffect>
                                  </p:childTnLst>
                                </p:cTn>
                              </p:par>
                              <p:par>
                                <p:cTn id="11" presetID="42" presetClass="path" presetSubtype="0" decel="100000" fill="hold" grpId="1" nodeType="withEffect">
                                  <p:stCondLst>
                                    <p:cond delay="1000"/>
                                  </p:stCondLst>
                                  <p:childTnLst>
                                    <p:animMotion origin="layout" path="M 3.95833E-6 0.03889 L 3.95833E-6 0 " pathEditMode="relative" rAng="0" ptsTypes="AA">
                                      <p:cBhvr>
                                        <p:cTn id="12" dur="500" fill="hold"/>
                                        <p:tgtEl>
                                          <p:spTgt spid="15"/>
                                        </p:tgtEl>
                                        <p:attrNameLst>
                                          <p:attrName>ppt_x</p:attrName>
                                          <p:attrName>ppt_y</p:attrName>
                                        </p:attrNameLst>
                                      </p:cBhvr>
                                      <p:rCtr x="0" y="-1944"/>
                                    </p:animMotion>
                                  </p:childTnLst>
                                </p:cTn>
                              </p:par>
                              <p:par>
                                <p:cTn id="13" presetID="10" presetClass="entr" presetSubtype="0" fill="hold" grpId="0" nodeType="withEffect">
                                  <p:stCondLst>
                                    <p:cond delay="1000"/>
                                  </p:stCondLst>
                                  <p:childTnLst>
                                    <p:set>
                                      <p:cBhvr>
                                        <p:cTn id="14" dur="1" fill="hold">
                                          <p:stCondLst>
                                            <p:cond delay="0"/>
                                          </p:stCondLst>
                                        </p:cTn>
                                        <p:tgtEl>
                                          <p:spTgt spid="59"/>
                                        </p:tgtEl>
                                        <p:attrNameLst>
                                          <p:attrName>style.visibility</p:attrName>
                                        </p:attrNameLst>
                                      </p:cBhvr>
                                      <p:to>
                                        <p:strVal val="visible"/>
                                      </p:to>
                                    </p:set>
                                    <p:animEffect transition="in" filter="fade">
                                      <p:cBhvr>
                                        <p:cTn id="15" dur="250"/>
                                        <p:tgtEl>
                                          <p:spTgt spid="59"/>
                                        </p:tgtEl>
                                      </p:cBhvr>
                                    </p:animEffect>
                                  </p:childTnLst>
                                </p:cTn>
                              </p:par>
                              <p:par>
                                <p:cTn id="16" presetID="42" presetClass="path" presetSubtype="0" decel="100000" fill="hold" grpId="1" nodeType="withEffect">
                                  <p:stCondLst>
                                    <p:cond delay="1000"/>
                                  </p:stCondLst>
                                  <p:childTnLst>
                                    <p:animMotion origin="layout" path="M 3.95833E-6 -0.03472 L 3.95833E-6 -2.96296E-6 " pathEditMode="relative" rAng="0" ptsTypes="AA">
                                      <p:cBhvr>
                                        <p:cTn id="17" dur="500" fill="hold"/>
                                        <p:tgtEl>
                                          <p:spTgt spid="59"/>
                                        </p:tgtEl>
                                        <p:attrNameLst>
                                          <p:attrName>ppt_x</p:attrName>
                                          <p:attrName>ppt_y</p:attrName>
                                        </p:attrNameLst>
                                      </p:cBhvr>
                                      <p:rCtr x="0" y="1736"/>
                                    </p:animMotion>
                                  </p:childTnLst>
                                </p:cTn>
                              </p:par>
                              <p:par>
                                <p:cTn id="18" presetID="10" presetClass="entr" presetSubtype="0" fill="hold" grpId="0" nodeType="withEffect">
                                  <p:stCondLst>
                                    <p:cond delay="10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250"/>
                                        <p:tgtEl>
                                          <p:spTgt spid="9"/>
                                        </p:tgtEl>
                                      </p:cBhvr>
                                    </p:animEffect>
                                  </p:childTnLst>
                                </p:cTn>
                              </p:par>
                              <p:par>
                                <p:cTn id="21" presetID="42" presetClass="path" presetSubtype="0" decel="100000" fill="hold" grpId="1" nodeType="withEffect">
                                  <p:stCondLst>
                                    <p:cond delay="1000"/>
                                  </p:stCondLst>
                                  <p:childTnLst>
                                    <p:animMotion origin="layout" path="M -0.01719 -0.00023 L 3.95833E-6 -1.48148E-6 " pathEditMode="relative" rAng="0" ptsTypes="AA">
                                      <p:cBhvr>
                                        <p:cTn id="22" dur="500" fill="hold"/>
                                        <p:tgtEl>
                                          <p:spTgt spid="9"/>
                                        </p:tgtEl>
                                        <p:attrNameLst>
                                          <p:attrName>ppt_x</p:attrName>
                                          <p:attrName>ppt_y</p:attrName>
                                        </p:attrNameLst>
                                      </p:cBhvr>
                                      <p:rCtr x="859" y="0"/>
                                    </p:animMotion>
                                  </p:childTnLst>
                                </p:cTn>
                              </p:par>
                              <p:par>
                                <p:cTn id="23" presetID="10" presetClass="entr" presetSubtype="0" fill="hold" grpId="0" nodeType="withEffect">
                                  <p:stCondLst>
                                    <p:cond delay="20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250"/>
                                        <p:tgtEl>
                                          <p:spTgt spid="17"/>
                                        </p:tgtEl>
                                      </p:cBhvr>
                                    </p:animEffect>
                                  </p:childTnLst>
                                </p:cTn>
                              </p:par>
                              <p:par>
                                <p:cTn id="26" presetID="42" presetClass="path" presetSubtype="0" decel="100000" fill="hold" grpId="1" nodeType="withEffect">
                                  <p:stCondLst>
                                    <p:cond delay="2000"/>
                                  </p:stCondLst>
                                  <p:childTnLst>
                                    <p:animMotion origin="layout" path="M -1.875E-6 0.03889 L -1.875E-6 -1.48148E-6 " pathEditMode="relative" rAng="0" ptsTypes="AA">
                                      <p:cBhvr>
                                        <p:cTn id="27" dur="500" fill="hold"/>
                                        <p:tgtEl>
                                          <p:spTgt spid="17"/>
                                        </p:tgtEl>
                                        <p:attrNameLst>
                                          <p:attrName>ppt_x</p:attrName>
                                          <p:attrName>ppt_y</p:attrName>
                                        </p:attrNameLst>
                                      </p:cBhvr>
                                      <p:rCtr x="0" y="-1944"/>
                                    </p:animMotion>
                                  </p:childTnLst>
                                </p:cTn>
                              </p:par>
                              <p:par>
                                <p:cTn id="28" presetID="10" presetClass="entr" presetSubtype="0" fill="hold" grpId="0" nodeType="withEffect">
                                  <p:stCondLst>
                                    <p:cond delay="20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250"/>
                                        <p:tgtEl>
                                          <p:spTgt spid="11"/>
                                        </p:tgtEl>
                                      </p:cBhvr>
                                    </p:animEffect>
                                  </p:childTnLst>
                                </p:cTn>
                              </p:par>
                              <p:par>
                                <p:cTn id="31" presetID="42" presetClass="path" presetSubtype="0" decel="100000" fill="hold" grpId="1" nodeType="withEffect">
                                  <p:stCondLst>
                                    <p:cond delay="2000"/>
                                  </p:stCondLst>
                                  <p:childTnLst>
                                    <p:animMotion origin="layout" path="M -0.01719 -0.00023 L -1.875E-6 -1.48148E-6 " pathEditMode="relative" rAng="0" ptsTypes="AA">
                                      <p:cBhvr>
                                        <p:cTn id="32" dur="500" fill="hold"/>
                                        <p:tgtEl>
                                          <p:spTgt spid="11"/>
                                        </p:tgtEl>
                                        <p:attrNameLst>
                                          <p:attrName>ppt_x</p:attrName>
                                          <p:attrName>ppt_y</p:attrName>
                                        </p:attrNameLst>
                                      </p:cBhvr>
                                      <p:rCtr x="859" y="0"/>
                                    </p:animMotion>
                                  </p:childTnLst>
                                </p:cTn>
                              </p:par>
                              <p:par>
                                <p:cTn id="33" presetID="10" presetClass="entr" presetSubtype="0" fill="hold" grpId="0" nodeType="withEffect">
                                  <p:stCondLst>
                                    <p:cond delay="200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250"/>
                                        <p:tgtEl>
                                          <p:spTgt spid="55"/>
                                        </p:tgtEl>
                                      </p:cBhvr>
                                    </p:animEffect>
                                  </p:childTnLst>
                                </p:cTn>
                              </p:par>
                              <p:par>
                                <p:cTn id="36" presetID="42" presetClass="path" presetSubtype="0" decel="100000" fill="hold" grpId="1" nodeType="withEffect">
                                  <p:stCondLst>
                                    <p:cond delay="2000"/>
                                  </p:stCondLst>
                                  <p:childTnLst>
                                    <p:animMotion origin="layout" path="M -1.875E-6 -0.03472 L -1.875E-6 -4.44444E-6 " pathEditMode="relative" rAng="0" ptsTypes="AA">
                                      <p:cBhvr>
                                        <p:cTn id="37" dur="500" fill="hold"/>
                                        <p:tgtEl>
                                          <p:spTgt spid="55"/>
                                        </p:tgtEl>
                                        <p:attrNameLst>
                                          <p:attrName>ppt_x</p:attrName>
                                          <p:attrName>ppt_y</p:attrName>
                                        </p:attrNameLst>
                                      </p:cBhvr>
                                      <p:rCtr x="0" y="1736"/>
                                    </p:animMotion>
                                  </p:childTnLst>
                                </p:cTn>
                              </p:par>
                              <p:par>
                                <p:cTn id="38" presetID="10" presetClass="entr" presetSubtype="0" fill="hold" grpId="0" nodeType="withEffect">
                                  <p:stCondLst>
                                    <p:cond delay="300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250"/>
                                        <p:tgtEl>
                                          <p:spTgt spid="18"/>
                                        </p:tgtEl>
                                      </p:cBhvr>
                                    </p:animEffect>
                                  </p:childTnLst>
                                </p:cTn>
                              </p:par>
                              <p:par>
                                <p:cTn id="41" presetID="42" presetClass="path" presetSubtype="0" decel="100000" fill="hold" grpId="1" nodeType="withEffect">
                                  <p:stCondLst>
                                    <p:cond delay="3000"/>
                                  </p:stCondLst>
                                  <p:childTnLst>
                                    <p:animMotion origin="layout" path="M -4.375E-6 0.03889 L -4.375E-6 -1.48148E-6 " pathEditMode="relative" rAng="0" ptsTypes="AA">
                                      <p:cBhvr>
                                        <p:cTn id="42" dur="500" fill="hold"/>
                                        <p:tgtEl>
                                          <p:spTgt spid="18"/>
                                        </p:tgtEl>
                                        <p:attrNameLst>
                                          <p:attrName>ppt_x</p:attrName>
                                          <p:attrName>ppt_y</p:attrName>
                                        </p:attrNameLst>
                                      </p:cBhvr>
                                      <p:rCtr x="0" y="-1944"/>
                                    </p:animMotion>
                                  </p:childTnLst>
                                </p:cTn>
                              </p:par>
                              <p:par>
                                <p:cTn id="43" presetID="10" presetClass="entr" presetSubtype="0" fill="hold" grpId="0" nodeType="withEffect">
                                  <p:stCondLst>
                                    <p:cond delay="3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50"/>
                                        <p:tgtEl>
                                          <p:spTgt spid="12"/>
                                        </p:tgtEl>
                                      </p:cBhvr>
                                    </p:animEffect>
                                  </p:childTnLst>
                                </p:cTn>
                              </p:par>
                              <p:par>
                                <p:cTn id="46" presetID="42" presetClass="path" presetSubtype="0" decel="100000" fill="hold" grpId="1" nodeType="withEffect">
                                  <p:stCondLst>
                                    <p:cond delay="3000"/>
                                  </p:stCondLst>
                                  <p:childTnLst>
                                    <p:animMotion origin="layout" path="M -0.01718 -0.00023 L -4.375E-6 -1.48148E-6 " pathEditMode="relative" rAng="0" ptsTypes="AA">
                                      <p:cBhvr>
                                        <p:cTn id="47" dur="500" fill="hold"/>
                                        <p:tgtEl>
                                          <p:spTgt spid="12"/>
                                        </p:tgtEl>
                                        <p:attrNameLst>
                                          <p:attrName>ppt_x</p:attrName>
                                          <p:attrName>ppt_y</p:attrName>
                                        </p:attrNameLst>
                                      </p:cBhvr>
                                      <p:rCtr x="859" y="0"/>
                                    </p:animMotion>
                                  </p:childTnLst>
                                </p:cTn>
                              </p:par>
                              <p:par>
                                <p:cTn id="48" presetID="10" presetClass="entr" presetSubtype="0" fill="hold" grpId="0" nodeType="withEffect">
                                  <p:stCondLst>
                                    <p:cond delay="3000"/>
                                  </p:stCondLst>
                                  <p:childTnLst>
                                    <p:set>
                                      <p:cBhvr>
                                        <p:cTn id="49" dur="1" fill="hold">
                                          <p:stCondLst>
                                            <p:cond delay="0"/>
                                          </p:stCondLst>
                                        </p:cTn>
                                        <p:tgtEl>
                                          <p:spTgt spid="57"/>
                                        </p:tgtEl>
                                        <p:attrNameLst>
                                          <p:attrName>style.visibility</p:attrName>
                                        </p:attrNameLst>
                                      </p:cBhvr>
                                      <p:to>
                                        <p:strVal val="visible"/>
                                      </p:to>
                                    </p:set>
                                    <p:animEffect transition="in" filter="fade">
                                      <p:cBhvr>
                                        <p:cTn id="50" dur="250"/>
                                        <p:tgtEl>
                                          <p:spTgt spid="57"/>
                                        </p:tgtEl>
                                      </p:cBhvr>
                                    </p:animEffect>
                                  </p:childTnLst>
                                </p:cTn>
                              </p:par>
                              <p:par>
                                <p:cTn id="51" presetID="42" presetClass="path" presetSubtype="0" decel="100000" fill="hold" grpId="1" nodeType="withEffect">
                                  <p:stCondLst>
                                    <p:cond delay="3000"/>
                                  </p:stCondLst>
                                  <p:childTnLst>
                                    <p:animMotion origin="layout" path="M -4.375E-6 -0.03472 L -4.375E-6 -2.96296E-6 " pathEditMode="relative" rAng="0" ptsTypes="AA">
                                      <p:cBhvr>
                                        <p:cTn id="52" dur="500" fill="hold"/>
                                        <p:tgtEl>
                                          <p:spTgt spid="5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9" grpId="0" animBg="1"/>
      <p:bldP spid="59" grpId="1" animBg="1"/>
      <p:bldP spid="55" grpId="0" animBg="1"/>
      <p:bldP spid="55" grpId="1" animBg="1"/>
      <p:bldP spid="57" grpId="0" animBg="1"/>
      <p:bldP spid="57" grpId="1" animBg="1"/>
      <p:bldP spid="15" grpId="0" animBg="1"/>
      <p:bldP spid="15" grpId="1" animBg="1"/>
      <p:bldP spid="17" grpId="0" animBg="1"/>
      <p:bldP spid="17" grpId="1" animBg="1"/>
      <p:bldP spid="18" grpId="0" animBg="1"/>
      <p:bldP spid="18" grpId="1" animBg="1"/>
      <p:bldP spid="9" grpId="0"/>
      <p:bldP spid="9" grpId="1"/>
      <p:bldP spid="11" grpId="0"/>
      <p:bldP spid="11" grpId="1"/>
      <p:bldP spid="12" grpId="0"/>
      <p:bldP spid="1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a:themeElements>
    <a:clrScheme name="Custom 1">
      <a:dk1>
        <a:srgbClr val="225B61"/>
      </a:dk1>
      <a:lt1>
        <a:srgbClr val="000000"/>
      </a:lt1>
      <a:dk2>
        <a:srgbClr val="B9DCD2"/>
      </a:dk2>
      <a:lt2>
        <a:srgbClr val="49C5B1"/>
      </a:lt2>
      <a:accent1>
        <a:srgbClr val="8DE971"/>
      </a:accent1>
      <a:accent2>
        <a:srgbClr val="0078D3"/>
      </a:accent2>
      <a:accent3>
        <a:srgbClr val="8661C5"/>
      </a:accent3>
      <a:accent4>
        <a:srgbClr val="C03BC3"/>
      </a:accent4>
      <a:accent5>
        <a:srgbClr val="FFB900"/>
      </a:accent5>
      <a:accent6>
        <a:srgbClr val="F3364C"/>
      </a:accent6>
      <a:hlink>
        <a:srgbClr val="225B61"/>
      </a:hlink>
      <a:folHlink>
        <a:srgbClr val="8DC8E8"/>
      </a:folHlink>
    </a:clrScheme>
    <a:fontScheme name="Custom 20">
      <a:majorFont>
        <a:latin typeface="Segoe Sans Display"/>
        <a:ea typeface=""/>
        <a:cs typeface=""/>
      </a:majorFont>
      <a:minorFont>
        <a:latin typeface="Segoe Sans Text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2Color _Microsoft Fabric Master Slide Template PPT" id="{C4955310-1F75-CB41-AE88-3C74BC568F8B}" vid="{D64952BC-5741-F749-9CC7-11175F2699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1c3d6fc-5689-40cc-899d-3b916b4ff5bf">
      <UserInfo>
        <DisplayName>Ronald Chang</DisplayName>
        <AccountId>26</AccountId>
        <AccountType/>
      </UserInfo>
      <UserInfo>
        <DisplayName>Ellie Lawler</DisplayName>
        <AccountId>207</AccountId>
        <AccountType/>
      </UserInfo>
      <UserInfo>
        <DisplayName>Miwa Monji</DisplayName>
        <AccountId>136</AccountId>
        <AccountType/>
      </UserInfo>
      <UserInfo>
        <DisplayName>Sharif Islam</DisplayName>
        <AccountId>622</AccountId>
        <AccountType/>
      </UserInfo>
      <UserInfo>
        <DisplayName>Jeeva Akr</DisplayName>
        <AccountId>39</AccountId>
        <AccountType/>
      </UserInfo>
      <UserInfo>
        <DisplayName>Jason Pereira</DisplayName>
        <AccountId>1123</AccountId>
        <AccountType/>
      </UserInfo>
      <UserInfo>
        <DisplayName>Will Johnson (GBB)</DisplayName>
        <AccountId>470</AccountId>
        <AccountType/>
      </UserInfo>
      <UserInfo>
        <DisplayName>Thasmika Gokal</DisplayName>
        <AccountId>142</AccountId>
        <AccountType/>
      </UserInfo>
      <UserInfo>
        <DisplayName>Cillian Mitchell</DisplayName>
        <AccountId>36</AccountId>
        <AccountType/>
      </UserInfo>
      <UserInfo>
        <DisplayName>Rajeev Jain</DisplayName>
        <AccountId>110</AccountId>
        <AccountType/>
      </UserInfo>
      <UserInfo>
        <DisplayName>Nellie Vasiliev (AG Consulting Partners, Inc.)</DisplayName>
        <AccountId>16</AccountId>
        <AccountType/>
      </UserInfo>
      <UserInfo>
        <DisplayName>Binaka Sankaran</DisplayName>
        <AccountId>745</AccountId>
        <AccountType/>
      </UserInfo>
      <UserInfo>
        <DisplayName>Ege Onelcin</DisplayName>
        <AccountId>42</AccountId>
        <AccountType/>
      </UserInfo>
      <UserInfo>
        <DisplayName>Karlien Vanden Eynde</DisplayName>
        <AccountId>18</AccountId>
        <AccountType/>
      </UserInfo>
      <UserInfo>
        <DisplayName>Swetha Mannepalli</DisplayName>
        <AccountId>8</AccountId>
        <AccountType/>
      </UserInfo>
      <UserInfo>
        <DisplayName>Dan Houdek</DisplayName>
        <AccountId>95</AccountId>
        <AccountType/>
      </UserInfo>
      <UserInfo>
        <DisplayName>Carlos Herquinio</DisplayName>
        <AccountId>1441</AccountId>
        <AccountType/>
      </UserInfo>
      <UserInfo>
        <DisplayName>Mohini Verma</DisplayName>
        <AccountId>1442</AccountId>
        <AccountType/>
      </UserInfo>
      <UserInfo>
        <DisplayName>Leighton Searle</DisplayName>
        <AccountId>1427</AccountId>
        <AccountType/>
      </UserInfo>
      <UserInfo>
        <DisplayName>Vaishali Chawan</DisplayName>
        <AccountId>633</AccountId>
        <AccountType/>
      </UserInfo>
      <UserInfo>
        <DisplayName>Tonio Lora</DisplayName>
        <AccountId>673</AccountId>
        <AccountType/>
      </UserInfo>
      <UserInfo>
        <DisplayName>Craig Butler</DisplayName>
        <AccountId>1158</AccountId>
        <AccountType/>
      </UserInfo>
      <UserInfo>
        <DisplayName>Kathrine Lord</DisplayName>
        <AccountId>1443</AccountId>
        <AccountType/>
      </UserInfo>
      <UserInfo>
        <DisplayName>Nilesh Khatri</DisplayName>
        <AccountId>826</AccountId>
        <AccountType/>
      </UserInfo>
      <UserInfo>
        <DisplayName>Mark Chen</DisplayName>
        <AccountId>813</AccountId>
        <AccountType/>
      </UserInfo>
      <UserInfo>
        <DisplayName>Suma Manohar</DisplayName>
        <AccountId>827</AccountId>
        <AccountType/>
      </UserInfo>
      <UserInfo>
        <DisplayName>Mo Lin</DisplayName>
        <AccountId>679</AccountId>
        <AccountType/>
      </UserInfo>
      <UserInfo>
        <DisplayName>Ravikanth Musti</DisplayName>
        <AccountId>639</AccountId>
        <AccountType/>
      </UserInfo>
      <UserInfo>
        <DisplayName>Debananda Ghosh</DisplayName>
        <AccountId>488</AccountId>
        <AccountType/>
      </UserInfo>
      <UserInfo>
        <DisplayName>Sana Sanai</DisplayName>
        <AccountId>825</AccountId>
        <AccountType/>
      </UserInfo>
      <UserInfo>
        <DisplayName>Nazeer Ali Mohammed</DisplayName>
        <AccountId>635</AccountId>
        <AccountType/>
      </UserInfo>
      <UserInfo>
        <DisplayName>Elizabeth Antoine</DisplayName>
        <AccountId>829</AccountId>
        <AccountType/>
      </UserInfo>
      <UserInfo>
        <DisplayName>Amjad Muhammad Khan</DisplayName>
        <AccountId>759</AccountId>
        <AccountType/>
      </UserInfo>
      <UserInfo>
        <DisplayName>Ayman Dabees</DisplayName>
        <AccountId>692</AccountId>
        <AccountType/>
      </UserInfo>
      <UserInfo>
        <DisplayName>Keyuna Evans (CELA)</DisplayName>
        <AccountId>239</AccountId>
        <AccountType/>
      </UserInfo>
      <UserInfo>
        <DisplayName>Nevenka Scott</DisplayName>
        <AccountId>1139</AccountId>
        <AccountType/>
      </UserInfo>
      <UserInfo>
        <DisplayName>Brian Robinson (CELA)</DisplayName>
        <AccountId>988</AccountId>
        <AccountType/>
      </UserInfo>
      <UserInfo>
        <DisplayName>Nicholas Wolfe (CELA)</DisplayName>
        <AccountId>1452</AccountId>
        <AccountType/>
      </UserInfo>
      <UserInfo>
        <DisplayName>Phiania Macpherson</DisplayName>
        <AccountId>1470</AccountId>
        <AccountType/>
      </UserInfo>
      <UserInfo>
        <DisplayName>Tulsi Wansai [Chillibreeze]</DisplayName>
        <AccountId>1419</AccountId>
        <AccountType/>
      </UserInfo>
      <UserInfo>
        <DisplayName>Wangui McKelvey</DisplayName>
        <AccountId>567</AccountId>
        <AccountType/>
      </UserInfo>
      <UserInfo>
        <DisplayName>Jermey Evans (CW)</DisplayName>
        <AccountId>644</AccountId>
        <AccountType/>
      </UserInfo>
      <UserInfo>
        <DisplayName>Macy Byerly</DisplayName>
        <AccountId>1617</AccountId>
        <AccountType/>
      </UserInfo>
      <UserInfo>
        <DisplayName>Rachel Bshero</DisplayName>
        <AccountId>573</AccountId>
        <AccountType/>
      </UserInfo>
      <UserInfo>
        <DisplayName>Lauren Ward</DisplayName>
        <AccountId>345</AccountId>
        <AccountType/>
      </UserInfo>
      <UserInfo>
        <DisplayName>Tyler Mays-Childers (he/him)</DisplayName>
        <AccountId>33</AccountId>
        <AccountType/>
      </UserInfo>
      <UserInfo>
        <DisplayName>Katherine Smiley (We Are Rosie LLC)</DisplayName>
        <AccountId>1341</AccountId>
        <AccountType/>
      </UserInfo>
    </SharedWithUsers>
    <TaxCatchAll xmlns="230e9df3-be65-4c73-a93b-d1236ebd677e" xsi:nil="true"/>
    <lcf76f155ced4ddcb4097134ff3c332f xmlns="07c5dfa0-33a3-47dd-bfb7-87fb96739115">
      <Terms xmlns="http://schemas.microsoft.com/office/infopath/2007/PartnerControls"/>
    </lcf76f155ced4ddcb4097134ff3c332f>
    <test xmlns="07c5dfa0-33a3-47dd-bfb7-87fb96739115" xsi:nil="true"/>
    <Time xmlns="07c5dfa0-33a3-47dd-bfb7-87fb96739115" xsi:nil="true"/>
    <Status xmlns="07c5dfa0-33a3-47dd-bfb7-87fb96739115" xsi:nil="true"/>
    <Date xmlns="07c5dfa0-33a3-47dd-bfb7-87fb9673911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D5624A2-8889-4574-B194-C786A1454E54}">
  <ds:schemaRefs>
    <ds:schemaRef ds:uri="http://schemas.microsoft.com/sharepoint/v3/contenttype/forms"/>
  </ds:schemaRefs>
</ds:datastoreItem>
</file>

<file path=customXml/itemProps2.xml><?xml version="1.0" encoding="utf-8"?>
<ds:datastoreItem xmlns:ds="http://schemas.openxmlformats.org/officeDocument/2006/customXml" ds:itemID="{FAA2F610-1193-44B2-A4F0-A119C8973799}">
  <ds:schemaRefs>
    <ds:schemaRef ds:uri="http://schemas.microsoft.com/sharepoint/v3"/>
    <ds:schemaRef ds:uri="07c5dfa0-33a3-47dd-bfb7-87fb96739115"/>
    <ds:schemaRef ds:uri="http://www.w3.org/XML/1998/namespace"/>
    <ds:schemaRef ds:uri="http://schemas.microsoft.com/office/infopath/2007/PartnerControls"/>
    <ds:schemaRef ds:uri="http://schemas.microsoft.com/office/2006/documentManagement/types"/>
    <ds:schemaRef ds:uri="http://purl.org/dc/terms/"/>
    <ds:schemaRef ds:uri="http://purl.org/dc/elements/1.1/"/>
    <ds:schemaRef ds:uri="b1c3d6fc-5689-40cc-899d-3b916b4ff5bf"/>
    <ds:schemaRef ds:uri="http://schemas.microsoft.com/office/2006/metadata/properties"/>
    <ds:schemaRef ds:uri="http://schemas.openxmlformats.org/package/2006/metadata/core-properties"/>
    <ds:schemaRef ds:uri="230e9df3-be65-4c73-a93b-d1236ebd677e"/>
    <ds:schemaRef ds:uri="http://purl.org/dc/dcmitype/"/>
  </ds:schemaRefs>
</ds:datastoreItem>
</file>

<file path=customXml/itemProps3.xml><?xml version="1.0" encoding="utf-8"?>
<ds:datastoreItem xmlns:ds="http://schemas.openxmlformats.org/officeDocument/2006/customXml" ds:itemID="{8552522C-5F65-440E-AA4D-509D313DDD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7c5dfa0-33a3-47dd-bfb7-87fb96739115"/>
    <ds:schemaRef ds:uri="b1c3d6fc-5689-40cc-899d-3b916b4ff5bf"/>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22739</TotalTime>
  <Words>3274</Words>
  <Application>Microsoft Macintosh PowerPoint</Application>
  <PresentationFormat>Widescreen</PresentationFormat>
  <Paragraphs>419</Paragraphs>
  <Slides>33</Slides>
  <Notes>12</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50" baseType="lpstr">
      <vt:lpstr>Aptos</vt:lpstr>
      <vt:lpstr>Arial</vt:lpstr>
      <vt:lpstr>Calibri</vt:lpstr>
      <vt:lpstr>Inter</vt:lpstr>
      <vt:lpstr>Segoe Pro Display</vt:lpstr>
      <vt:lpstr>Segoe Pro Display Semibold</vt:lpstr>
      <vt:lpstr>Segoe Sans Display</vt:lpstr>
      <vt:lpstr>Segoe Sans Display Semibold</vt:lpstr>
      <vt:lpstr>Segoe Sans Small Semilight</vt:lpstr>
      <vt:lpstr>Segoe Sans Text</vt:lpstr>
      <vt:lpstr>Segoe Sans Text Semilight</vt:lpstr>
      <vt:lpstr>Segoe UI</vt:lpstr>
      <vt:lpstr>Segoe UI Semibold</vt:lpstr>
      <vt:lpstr>System Font Regular</vt:lpstr>
      <vt:lpstr>Wingdings</vt:lpstr>
      <vt:lpstr>Title Slides</vt:lpstr>
      <vt:lpstr>think-cell Slide</vt:lpstr>
      <vt:lpstr>Governance and Compliance with Microsoft Purview  A getting started guide Setup</vt:lpstr>
      <vt:lpstr>PowerPoint Presentation</vt:lpstr>
      <vt:lpstr>Today’s data realities</vt:lpstr>
      <vt:lpstr>Organizations struggle to secure and govern their data </vt:lpstr>
      <vt:lpstr>PowerPoint Presentation</vt:lpstr>
      <vt:lpstr>Microsoft Purview Comprehensive solutions to help govern, protect and manage your data estate</vt:lpstr>
      <vt:lpstr>Why is data governance so hard for organizations?</vt:lpstr>
      <vt:lpstr>Microsoft has faced similar challenges </vt:lpstr>
      <vt:lpstr>Why Microsoft landed on a federated governance approach </vt:lpstr>
      <vt:lpstr> Unified platform to secure &amp; govern your multi-cloud data estate</vt:lpstr>
      <vt:lpstr>A federated practice paired with user-friendly tools</vt:lpstr>
      <vt:lpstr>Microsoft Purview brings together solutions from our  compliance and data governance portfolios</vt:lpstr>
      <vt:lpstr>PowerPoint Presentation</vt:lpstr>
      <vt:lpstr>The Pillars</vt:lpstr>
      <vt:lpstr>The “Workflow”</vt:lpstr>
      <vt:lpstr>Getting their – wherever that is</vt:lpstr>
      <vt:lpstr>Organ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rview-overview</dc:title>
  <dc:creator>Cillian Mitchell</dc:creator>
  <cp:lastModifiedBy>Jan Cordtz</cp:lastModifiedBy>
  <cp:revision>10</cp:revision>
  <cp:lastPrinted>2025-06-18T05:57:52Z</cp:lastPrinted>
  <dcterms:created xsi:type="dcterms:W3CDTF">2024-01-23T16:36:38Z</dcterms:created>
  <dcterms:modified xsi:type="dcterms:W3CDTF">2026-01-13T09: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y fmtid="{D5CDD505-2E9C-101B-9397-08002B2CF9AE}" pid="4" name="_dlc_policyId">
    <vt:lpwstr>0x01010070AB3889E58DB141A6E1281B02136174|-369733750</vt:lpwstr>
  </property>
  <property fmtid="{D5CDD505-2E9C-101B-9397-08002B2CF9AE}" pid="5"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